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75" r:id="rId4"/>
  </p:sldMasterIdLst>
  <p:notesMasterIdLst>
    <p:notesMasterId r:id="rId34"/>
  </p:notesMasterIdLst>
  <p:handoutMasterIdLst>
    <p:handoutMasterId r:id="rId35"/>
  </p:handoutMasterIdLst>
  <p:sldIdLst>
    <p:sldId id="2145706309" r:id="rId5"/>
    <p:sldId id="2145706342" r:id="rId6"/>
    <p:sldId id="2145706362" r:id="rId7"/>
    <p:sldId id="2145706353" r:id="rId8"/>
    <p:sldId id="2145706344" r:id="rId9"/>
    <p:sldId id="2145706525" r:id="rId10"/>
    <p:sldId id="2145706352" r:id="rId11"/>
    <p:sldId id="2145706363" r:id="rId12"/>
    <p:sldId id="2145706347" r:id="rId13"/>
    <p:sldId id="2145706351" r:id="rId14"/>
    <p:sldId id="2145706526" r:id="rId15"/>
    <p:sldId id="2145706340" r:id="rId16"/>
    <p:sldId id="2145706350" r:id="rId17"/>
    <p:sldId id="2145706364" r:id="rId18"/>
    <p:sldId id="2145706357" r:id="rId19"/>
    <p:sldId id="2145706322" r:id="rId20"/>
    <p:sldId id="2145706370" r:id="rId21"/>
    <p:sldId id="2145706325" r:id="rId22"/>
    <p:sldId id="2145706335" r:id="rId23"/>
    <p:sldId id="2145706527" r:id="rId24"/>
    <p:sldId id="2145706332" r:id="rId25"/>
    <p:sldId id="2145706312" r:id="rId26"/>
    <p:sldId id="2145706369" r:id="rId27"/>
    <p:sldId id="2145706528" r:id="rId28"/>
    <p:sldId id="2145706331" r:id="rId29"/>
    <p:sldId id="2145706339" r:id="rId30"/>
    <p:sldId id="2145706524" r:id="rId31"/>
    <p:sldId id="2145706517" r:id="rId32"/>
    <p:sldId id="2145706295" r:id="rId33"/>
  </p:sldIdLst>
  <p:sldSz cx="12192000" cy="6858000"/>
  <p:notesSz cx="9926638" cy="6797675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lbert Picado De Puig" initials="APDP" lastIdx="3" clrIdx="6">
    <p:extLst>
      <p:ext uri="{19B8F6BF-5375-455C-9EA6-DF929625EA0E}">
        <p15:presenceInfo xmlns:p15="http://schemas.microsoft.com/office/powerpoint/2012/main" userId="S-1-5-21-758399636-2987204155-3505288178-4660" providerId="AD"/>
      </p:ext>
    </p:extLst>
  </p:cmAuthor>
  <p:cmAuthor id="1" name="Guihaume, Tiphaine" initials="GT" lastIdx="1" clrIdx="0">
    <p:extLst>
      <p:ext uri="{19B8F6BF-5375-455C-9EA6-DF929625EA0E}">
        <p15:presenceInfo xmlns:p15="http://schemas.microsoft.com/office/powerpoint/2012/main" userId="Guihaume, Tiphaine" providerId="None"/>
      </p:ext>
    </p:extLst>
  </p:cmAuthor>
  <p:cmAuthor id="8" name="Maël Redard" initials="MR" lastIdx="1" clrIdx="7">
    <p:extLst>
      <p:ext uri="{19B8F6BF-5375-455C-9EA6-DF929625EA0E}">
        <p15:presenceInfo xmlns:p15="http://schemas.microsoft.com/office/powerpoint/2012/main" userId="S::Mael.Redard@finddx.org::c2364de1-a1f0-490d-8ae0-9c9d5b5f0ba6" providerId="AD"/>
      </p:ext>
    </p:extLst>
  </p:cmAuthor>
  <p:cmAuthor id="2" name="Morten Ruhwald" initials="MR" lastIdx="2" clrIdx="1">
    <p:extLst>
      <p:ext uri="{19B8F6BF-5375-455C-9EA6-DF929625EA0E}">
        <p15:presenceInfo xmlns:p15="http://schemas.microsoft.com/office/powerpoint/2012/main" userId="Morten Ruhwald" providerId="None"/>
      </p:ext>
    </p:extLst>
  </p:cmAuthor>
  <p:cmAuthor id="9" name="Albert" initials="A" lastIdx="3" clrIdx="8">
    <p:extLst>
      <p:ext uri="{19B8F6BF-5375-455C-9EA6-DF929625EA0E}">
        <p15:presenceInfo xmlns:p15="http://schemas.microsoft.com/office/powerpoint/2012/main" userId="Albert" providerId="None"/>
      </p:ext>
    </p:extLst>
  </p:cmAuthor>
  <p:cmAuthor id="3" name="Sarah Nogaro" initials="SN" lastIdx="31" clrIdx="2">
    <p:extLst>
      <p:ext uri="{19B8F6BF-5375-455C-9EA6-DF929625EA0E}">
        <p15:presenceInfo xmlns:p15="http://schemas.microsoft.com/office/powerpoint/2012/main" userId="S::Sarah.Nogaro@finddx.org::cad2f3ff-81c2-49d3-9bee-4c5d604850df" providerId="AD"/>
      </p:ext>
    </p:extLst>
  </p:cmAuthor>
  <p:cmAuthor id="10" name="Joseph Ndungu" initials="JN" lastIdx="5" clrIdx="9">
    <p:extLst>
      <p:ext uri="{19B8F6BF-5375-455C-9EA6-DF929625EA0E}">
        <p15:presenceInfo xmlns:p15="http://schemas.microsoft.com/office/powerpoint/2012/main" userId="S::Joseph.Ndungu@finddx.org::ca0ea31a-dc60-4871-a047-a769c4ef740e" providerId="AD"/>
      </p:ext>
    </p:extLst>
  </p:cmAuthor>
  <p:cmAuthor id="4" name="Dziedzom Komi DE SOUZA" initials="DKDS" lastIdx="5" clrIdx="3">
    <p:extLst>
      <p:ext uri="{19B8F6BF-5375-455C-9EA6-DF929625EA0E}">
        <p15:presenceInfo xmlns:p15="http://schemas.microsoft.com/office/powerpoint/2012/main" userId="S::DziedzomKomi.DESOUZA@Finddx.org::7ac39cd6-5acb-435a-9f04-fb1043c5a2a2" providerId="AD"/>
      </p:ext>
    </p:extLst>
  </p:cmAuthor>
  <p:cmAuthor id="11" name="PORE, Meenal" initials="PM" lastIdx="4" clrIdx="10">
    <p:extLst>
      <p:ext uri="{19B8F6BF-5375-455C-9EA6-DF929625EA0E}">
        <p15:presenceInfo xmlns:p15="http://schemas.microsoft.com/office/powerpoint/2012/main" userId="PORE, Meenal" providerId="None"/>
      </p:ext>
    </p:extLst>
  </p:cmAuthor>
  <p:cmAuthor id="5" name="Tatiana Letsko" initials="TL" lastIdx="1" clrIdx="4">
    <p:extLst>
      <p:ext uri="{19B8F6BF-5375-455C-9EA6-DF929625EA0E}">
        <p15:presenceInfo xmlns:p15="http://schemas.microsoft.com/office/powerpoint/2012/main" userId="S::Tatiana.Letsko@Finddx.org::a6cb2b95-6f96-4c98-bbb5-ef102aa349fb" providerId="AD"/>
      </p:ext>
    </p:extLst>
  </p:cmAuthor>
  <p:cmAuthor id="12" name="Sarah-Jane Loveday" initials="SJL" lastIdx="10" clrIdx="11">
    <p:extLst>
      <p:ext uri="{19B8F6BF-5375-455C-9EA6-DF929625EA0E}">
        <p15:presenceInfo xmlns:p15="http://schemas.microsoft.com/office/powerpoint/2012/main" userId="S::Sarah-Jane.Loveday@finddx.org::38f1dcbf-72cf-4a61-820e-24f00c15d838" providerId="AD"/>
      </p:ext>
    </p:extLst>
  </p:cmAuthor>
  <p:cmAuthor id="6" name="Sylvain Bieler" initials="SB" lastIdx="3" clrIdx="5">
    <p:extLst>
      <p:ext uri="{19B8F6BF-5375-455C-9EA6-DF929625EA0E}">
        <p15:presenceInfo xmlns:p15="http://schemas.microsoft.com/office/powerpoint/2012/main" userId="S::Sylvain.Bieler@finddx.org::a37712c3-e8a0-4e16-8c22-5fd8fb7791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C534"/>
    <a:srgbClr val="E93F47"/>
    <a:srgbClr val="F79646"/>
    <a:srgbClr val="FFC000"/>
    <a:srgbClr val="FFFF00"/>
    <a:srgbClr val="43ABB6"/>
    <a:srgbClr val="E6E6E6"/>
    <a:srgbClr val="955895"/>
    <a:srgbClr val="00B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91880" autoAdjust="0"/>
  </p:normalViewPr>
  <p:slideViewPr>
    <p:cSldViewPr snapToGrid="0">
      <p:cViewPr varScale="1">
        <p:scale>
          <a:sx n="55" d="100"/>
          <a:sy n="55" d="100"/>
        </p:scale>
        <p:origin x="1064" y="3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04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B%20Covid\Dissemintation%20workshop\Estimate%20cost%20for%20UN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A$2</c:f>
              <c:strCache>
                <c:ptCount val="1"/>
                <c:pt idx="0">
                  <c:v>Số BN lao được phát hiện trong t.gian triển khai Dự án </c:v>
                </c:pt>
              </c:strCache>
            </c:strRef>
          </c:tx>
          <c:spPr>
            <a:solidFill>
              <a:srgbClr val="7030A0"/>
            </a:solidFill>
            <a:ln>
              <a:solidFill>
                <a:srgbClr val="00B05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1:$C$1</c:f>
              <c:strCache>
                <c:ptCount val="2"/>
                <c:pt idx="0">
                  <c:v>Phúc Thọ</c:v>
                </c:pt>
                <c:pt idx="1">
                  <c:v>Ứng Hòa</c:v>
                </c:pt>
              </c:strCache>
            </c:strRef>
          </c:cat>
          <c:val>
            <c:numRef>
              <c:f>Sheet2!$B$2:$C$2</c:f>
              <c:numCache>
                <c:formatCode>General</c:formatCode>
                <c:ptCount val="2"/>
                <c:pt idx="0">
                  <c:v>42</c:v>
                </c:pt>
                <c:pt idx="1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EB-4CE3-80BB-3B7B9EC2D733}"/>
            </c:ext>
          </c:extLst>
        </c:ser>
        <c:ser>
          <c:idx val="1"/>
          <c:order val="1"/>
          <c:tx>
            <c:strRef>
              <c:f>Sheet2!$A$3</c:f>
              <c:strCache>
                <c:ptCount val="1"/>
                <c:pt idx="0">
                  <c:v>Số BN lao được phát hiện năm 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2!$B$1:$C$1</c:f>
              <c:strCache>
                <c:ptCount val="2"/>
                <c:pt idx="0">
                  <c:v>Phúc Thọ</c:v>
                </c:pt>
                <c:pt idx="1">
                  <c:v>Ứng Hòa</c:v>
                </c:pt>
              </c:strCache>
            </c:strRef>
          </c:cat>
          <c:val>
            <c:numRef>
              <c:f>Sheet2!$B$3:$C$3</c:f>
              <c:numCache>
                <c:formatCode>General</c:formatCode>
                <c:ptCount val="2"/>
                <c:pt idx="0">
                  <c:v>1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EB-4CE3-80BB-3B7B9EC2D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438672"/>
        <c:axId val="165444912"/>
      </c:barChart>
      <c:catAx>
        <c:axId val="165438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444912"/>
        <c:crosses val="autoZero"/>
        <c:auto val="1"/>
        <c:lblAlgn val="ctr"/>
        <c:lblOffset val="100"/>
        <c:noMultiLvlLbl val="0"/>
      </c:catAx>
      <c:valAx>
        <c:axId val="1654449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438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CAA854-3B22-48E9-874B-3CFB428D5BA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D13F9334-F1F3-4EBA-95F0-676196FB7B8E}">
      <dgm:prSet phldrT="[Text]" custT="1"/>
      <dgm:spPr/>
      <dgm:t>
        <a:bodyPr/>
        <a:lstStyle/>
        <a:p>
          <a:pPr algn="l"/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Giới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u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hung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620A65E-F1F7-42AF-95D7-D6FBEA2B2B9E}" type="parTrans" cxnId="{D961DB9F-CAE5-4307-A190-F3B33A67D1CE}">
      <dgm:prSet/>
      <dgm:spPr/>
      <dgm:t>
        <a:bodyPr/>
        <a:lstStyle/>
        <a:p>
          <a:endParaRPr lang="en-AU"/>
        </a:p>
      </dgm:t>
    </dgm:pt>
    <dgm:pt modelId="{C1BE22D5-4DFA-4FD3-9190-09150AA6C829}" type="sibTrans" cxnId="{D961DB9F-CAE5-4307-A190-F3B33A67D1CE}">
      <dgm:prSet/>
      <dgm:spPr/>
      <dgm:t>
        <a:bodyPr/>
        <a:lstStyle/>
        <a:p>
          <a:endParaRPr lang="en-AU"/>
        </a:p>
      </dgm:t>
    </dgm:pt>
    <dgm:pt modelId="{42753147-035E-4C62-B549-0AD20BC3109B}">
      <dgm:prSet phldrT="[Text]" custT="1"/>
      <dgm:spPr/>
      <dgm:t>
        <a:bodyPr/>
        <a:lstStyle/>
        <a:p>
          <a:pPr algn="just"/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Những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hoạt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động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98A2D92-5351-4ACE-AF99-1FA54290A13A}" type="parTrans" cxnId="{C81B498A-2601-4284-A46C-0D82EBAB3E9A}">
      <dgm:prSet/>
      <dgm:spPr/>
      <dgm:t>
        <a:bodyPr/>
        <a:lstStyle/>
        <a:p>
          <a:endParaRPr lang="en-AU"/>
        </a:p>
      </dgm:t>
    </dgm:pt>
    <dgm:pt modelId="{42290D68-0E12-4A87-819C-3770C1C681E2}" type="sibTrans" cxnId="{C81B498A-2601-4284-A46C-0D82EBAB3E9A}">
      <dgm:prSet/>
      <dgm:spPr/>
      <dgm:t>
        <a:bodyPr/>
        <a:lstStyle/>
        <a:p>
          <a:endParaRPr lang="en-AU"/>
        </a:p>
      </dgm:t>
    </dgm:pt>
    <dgm:pt modelId="{63B710FB-1350-4779-B013-7853B9C6E6C5}">
      <dgm:prSet phldrT="[Text]" custT="1"/>
      <dgm:spPr/>
      <dgm:t>
        <a:bodyPr/>
        <a:lstStyle/>
        <a:p>
          <a:pPr algn="just"/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ết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quả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8377FAB-B713-4640-BC94-9263FA1B34A4}" type="parTrans" cxnId="{E8DA89EB-35D6-4E1E-B4E5-9D6F78B951F3}">
      <dgm:prSet/>
      <dgm:spPr/>
      <dgm:t>
        <a:bodyPr/>
        <a:lstStyle/>
        <a:p>
          <a:endParaRPr lang="en-AU"/>
        </a:p>
      </dgm:t>
    </dgm:pt>
    <dgm:pt modelId="{4E2C4E3C-8BCA-4DFA-9C62-00898C1FC670}" type="sibTrans" cxnId="{E8DA89EB-35D6-4E1E-B4E5-9D6F78B951F3}">
      <dgm:prSet/>
      <dgm:spPr/>
      <dgm:t>
        <a:bodyPr/>
        <a:lstStyle/>
        <a:p>
          <a:endParaRPr lang="en-AU"/>
        </a:p>
      </dgm:t>
    </dgm:pt>
    <dgm:pt modelId="{CF375168-D77E-47B3-91DF-DD4D90FCB538}">
      <dgm:prSet custT="1"/>
      <dgm:spPr/>
      <dgm:t>
        <a:bodyPr/>
        <a:lstStyle/>
        <a:p>
          <a:pPr algn="l"/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huận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lợi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ó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ăn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bài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inh</a:t>
          </a:r>
          <a:r>
            <a: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endParaRPr lang="en-AU" sz="24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D1F5C5F-BEAD-4C68-B83A-78B0E29317E0}" type="parTrans" cxnId="{52835F1D-E192-425E-B98E-56BE89E92643}">
      <dgm:prSet/>
      <dgm:spPr/>
      <dgm:t>
        <a:bodyPr/>
        <a:lstStyle/>
        <a:p>
          <a:endParaRPr lang="en-AU"/>
        </a:p>
      </dgm:t>
    </dgm:pt>
    <dgm:pt modelId="{A5265ACE-D63B-46B5-8544-9DDEEFDFA251}" type="sibTrans" cxnId="{52835F1D-E192-425E-B98E-56BE89E92643}">
      <dgm:prSet/>
      <dgm:spPr/>
      <dgm:t>
        <a:bodyPr/>
        <a:lstStyle/>
        <a:p>
          <a:endParaRPr lang="en-AU"/>
        </a:p>
      </dgm:t>
    </dgm:pt>
    <dgm:pt modelId="{1D9E2B47-1F6D-4F1E-9078-EF82B32AE45F}" type="pres">
      <dgm:prSet presAssocID="{50CAA854-3B22-48E9-874B-3CFB428D5BA4}" presName="linearFlow" presStyleCnt="0">
        <dgm:presLayoutVars>
          <dgm:dir/>
          <dgm:resizeHandles val="exact"/>
        </dgm:presLayoutVars>
      </dgm:prSet>
      <dgm:spPr/>
    </dgm:pt>
    <dgm:pt modelId="{9C870BCC-E6CA-4EF5-9AE5-EAACB358100A}" type="pres">
      <dgm:prSet presAssocID="{D13F9334-F1F3-4EBA-95F0-676196FB7B8E}" presName="composite" presStyleCnt="0"/>
      <dgm:spPr/>
    </dgm:pt>
    <dgm:pt modelId="{E39DD4FE-35AB-4410-B0EB-3441B77DA58A}" type="pres">
      <dgm:prSet presAssocID="{D13F9334-F1F3-4EBA-95F0-676196FB7B8E}" presName="imgShp" presStyleLbl="fgImgPlace1" presStyleIdx="0" presStyleCnt="4"/>
      <dgm:spPr/>
    </dgm:pt>
    <dgm:pt modelId="{2DB323FE-1F86-49F2-B6A9-605FF21302F2}" type="pres">
      <dgm:prSet presAssocID="{D13F9334-F1F3-4EBA-95F0-676196FB7B8E}" presName="txShp" presStyleLbl="node1" presStyleIdx="0" presStyleCnt="4">
        <dgm:presLayoutVars>
          <dgm:bulletEnabled val="1"/>
        </dgm:presLayoutVars>
      </dgm:prSet>
      <dgm:spPr/>
    </dgm:pt>
    <dgm:pt modelId="{803068F6-984F-499F-8EA1-399040F4DB81}" type="pres">
      <dgm:prSet presAssocID="{C1BE22D5-4DFA-4FD3-9190-09150AA6C829}" presName="spacing" presStyleCnt="0"/>
      <dgm:spPr/>
    </dgm:pt>
    <dgm:pt modelId="{194EA8EA-C454-4ADE-84BE-A995C78231EA}" type="pres">
      <dgm:prSet presAssocID="{42753147-035E-4C62-B549-0AD20BC3109B}" presName="composite" presStyleCnt="0"/>
      <dgm:spPr/>
    </dgm:pt>
    <dgm:pt modelId="{74987432-E469-4D27-883B-2B3A471B097F}" type="pres">
      <dgm:prSet presAssocID="{42753147-035E-4C62-B549-0AD20BC3109B}" presName="imgShp" presStyleLbl="fgImgPlace1" presStyleIdx="1" presStyleCnt="4"/>
      <dgm:spPr/>
    </dgm:pt>
    <dgm:pt modelId="{F94BEEEE-9B6A-4CEA-BF7D-4EB51185C5D0}" type="pres">
      <dgm:prSet presAssocID="{42753147-035E-4C62-B549-0AD20BC3109B}" presName="txShp" presStyleLbl="node1" presStyleIdx="1" presStyleCnt="4" custLinFactNeighborY="0">
        <dgm:presLayoutVars>
          <dgm:bulletEnabled val="1"/>
        </dgm:presLayoutVars>
      </dgm:prSet>
      <dgm:spPr/>
    </dgm:pt>
    <dgm:pt modelId="{51761780-DF9F-443F-859F-8D0DDF9694A1}" type="pres">
      <dgm:prSet presAssocID="{42290D68-0E12-4A87-819C-3770C1C681E2}" presName="spacing" presStyleCnt="0"/>
      <dgm:spPr/>
    </dgm:pt>
    <dgm:pt modelId="{D5E51673-77DB-493A-9538-00DC6C6EDBB7}" type="pres">
      <dgm:prSet presAssocID="{63B710FB-1350-4779-B013-7853B9C6E6C5}" presName="composite" presStyleCnt="0"/>
      <dgm:spPr/>
    </dgm:pt>
    <dgm:pt modelId="{82AB18DB-61E9-4FCD-8093-48F8EA0C049C}" type="pres">
      <dgm:prSet presAssocID="{63B710FB-1350-4779-B013-7853B9C6E6C5}" presName="imgShp" presStyleLbl="fgImgPlace1" presStyleIdx="2" presStyleCnt="4"/>
      <dgm:spPr/>
    </dgm:pt>
    <dgm:pt modelId="{5EDD185C-FFD8-47CF-A5A3-72A07533D779}" type="pres">
      <dgm:prSet presAssocID="{63B710FB-1350-4779-B013-7853B9C6E6C5}" presName="txShp" presStyleLbl="node1" presStyleIdx="2" presStyleCnt="4">
        <dgm:presLayoutVars>
          <dgm:bulletEnabled val="1"/>
        </dgm:presLayoutVars>
      </dgm:prSet>
      <dgm:spPr/>
    </dgm:pt>
    <dgm:pt modelId="{8D369F36-1BEE-466C-BC49-1673A6388A4B}" type="pres">
      <dgm:prSet presAssocID="{4E2C4E3C-8BCA-4DFA-9C62-00898C1FC670}" presName="spacing" presStyleCnt="0"/>
      <dgm:spPr/>
    </dgm:pt>
    <dgm:pt modelId="{E8FBED75-23D8-4B76-B6DF-1C750BAF13E0}" type="pres">
      <dgm:prSet presAssocID="{CF375168-D77E-47B3-91DF-DD4D90FCB538}" presName="composite" presStyleCnt="0"/>
      <dgm:spPr/>
    </dgm:pt>
    <dgm:pt modelId="{3BE3BC78-5249-4754-8271-37341B2A8AD1}" type="pres">
      <dgm:prSet presAssocID="{CF375168-D77E-47B3-91DF-DD4D90FCB538}" presName="imgShp" presStyleLbl="fgImgPlace1" presStyleIdx="3" presStyleCnt="4"/>
      <dgm:spPr/>
    </dgm:pt>
    <dgm:pt modelId="{9A709D66-D4B9-404D-A8D1-7C70765C8378}" type="pres">
      <dgm:prSet presAssocID="{CF375168-D77E-47B3-91DF-DD4D90FCB538}" presName="txShp" presStyleLbl="node1" presStyleIdx="3" presStyleCnt="4">
        <dgm:presLayoutVars>
          <dgm:bulletEnabled val="1"/>
        </dgm:presLayoutVars>
      </dgm:prSet>
      <dgm:spPr/>
    </dgm:pt>
  </dgm:ptLst>
  <dgm:cxnLst>
    <dgm:cxn modelId="{26855A12-87C6-4872-BD8C-19CA6062805C}" type="presOf" srcId="{50CAA854-3B22-48E9-874B-3CFB428D5BA4}" destId="{1D9E2B47-1F6D-4F1E-9078-EF82B32AE45F}" srcOrd="0" destOrd="0" presId="urn:microsoft.com/office/officeart/2005/8/layout/vList3"/>
    <dgm:cxn modelId="{52835F1D-E192-425E-B98E-56BE89E92643}" srcId="{50CAA854-3B22-48E9-874B-3CFB428D5BA4}" destId="{CF375168-D77E-47B3-91DF-DD4D90FCB538}" srcOrd="3" destOrd="0" parTransId="{BD1F5C5F-BEAD-4C68-B83A-78B0E29317E0}" sibTransId="{A5265ACE-D63B-46B5-8544-9DDEEFDFA251}"/>
    <dgm:cxn modelId="{5C32FD5F-16D1-4AB1-8923-06A3461A726A}" type="presOf" srcId="{CF375168-D77E-47B3-91DF-DD4D90FCB538}" destId="{9A709D66-D4B9-404D-A8D1-7C70765C8378}" srcOrd="0" destOrd="0" presId="urn:microsoft.com/office/officeart/2005/8/layout/vList3"/>
    <dgm:cxn modelId="{D07EFF75-E6FD-486F-AF2F-8BAE00A8D3A9}" type="presOf" srcId="{D13F9334-F1F3-4EBA-95F0-676196FB7B8E}" destId="{2DB323FE-1F86-49F2-B6A9-605FF21302F2}" srcOrd="0" destOrd="0" presId="urn:microsoft.com/office/officeart/2005/8/layout/vList3"/>
    <dgm:cxn modelId="{C81B498A-2601-4284-A46C-0D82EBAB3E9A}" srcId="{50CAA854-3B22-48E9-874B-3CFB428D5BA4}" destId="{42753147-035E-4C62-B549-0AD20BC3109B}" srcOrd="1" destOrd="0" parTransId="{F98A2D92-5351-4ACE-AF99-1FA54290A13A}" sibTransId="{42290D68-0E12-4A87-819C-3770C1C681E2}"/>
    <dgm:cxn modelId="{BD756694-B85D-4CC4-B2E7-8964D03E64CA}" type="presOf" srcId="{63B710FB-1350-4779-B013-7853B9C6E6C5}" destId="{5EDD185C-FFD8-47CF-A5A3-72A07533D779}" srcOrd="0" destOrd="0" presId="urn:microsoft.com/office/officeart/2005/8/layout/vList3"/>
    <dgm:cxn modelId="{D961DB9F-CAE5-4307-A190-F3B33A67D1CE}" srcId="{50CAA854-3B22-48E9-874B-3CFB428D5BA4}" destId="{D13F9334-F1F3-4EBA-95F0-676196FB7B8E}" srcOrd="0" destOrd="0" parTransId="{8620A65E-F1F7-42AF-95D7-D6FBEA2B2B9E}" sibTransId="{C1BE22D5-4DFA-4FD3-9190-09150AA6C829}"/>
    <dgm:cxn modelId="{450E9ABF-F063-49A2-BD96-B037692542A0}" type="presOf" srcId="{42753147-035E-4C62-B549-0AD20BC3109B}" destId="{F94BEEEE-9B6A-4CEA-BF7D-4EB51185C5D0}" srcOrd="0" destOrd="0" presId="urn:microsoft.com/office/officeart/2005/8/layout/vList3"/>
    <dgm:cxn modelId="{E8DA89EB-35D6-4E1E-B4E5-9D6F78B951F3}" srcId="{50CAA854-3B22-48E9-874B-3CFB428D5BA4}" destId="{63B710FB-1350-4779-B013-7853B9C6E6C5}" srcOrd="2" destOrd="0" parTransId="{88377FAB-B713-4640-BC94-9263FA1B34A4}" sibTransId="{4E2C4E3C-8BCA-4DFA-9C62-00898C1FC670}"/>
    <dgm:cxn modelId="{0108563D-E8F6-4672-A51D-D659F0AB3D7B}" type="presParOf" srcId="{1D9E2B47-1F6D-4F1E-9078-EF82B32AE45F}" destId="{9C870BCC-E6CA-4EF5-9AE5-EAACB358100A}" srcOrd="0" destOrd="0" presId="urn:microsoft.com/office/officeart/2005/8/layout/vList3"/>
    <dgm:cxn modelId="{58997B04-ABF7-4FFA-91A7-E97F1C5077BD}" type="presParOf" srcId="{9C870BCC-E6CA-4EF5-9AE5-EAACB358100A}" destId="{E39DD4FE-35AB-4410-B0EB-3441B77DA58A}" srcOrd="0" destOrd="0" presId="urn:microsoft.com/office/officeart/2005/8/layout/vList3"/>
    <dgm:cxn modelId="{48179ADE-D0D4-4ECC-A165-EB20D57EB538}" type="presParOf" srcId="{9C870BCC-E6CA-4EF5-9AE5-EAACB358100A}" destId="{2DB323FE-1F86-49F2-B6A9-605FF21302F2}" srcOrd="1" destOrd="0" presId="urn:microsoft.com/office/officeart/2005/8/layout/vList3"/>
    <dgm:cxn modelId="{6DD1469F-CA33-4918-8452-A25A36287D81}" type="presParOf" srcId="{1D9E2B47-1F6D-4F1E-9078-EF82B32AE45F}" destId="{803068F6-984F-499F-8EA1-399040F4DB81}" srcOrd="1" destOrd="0" presId="urn:microsoft.com/office/officeart/2005/8/layout/vList3"/>
    <dgm:cxn modelId="{0C61E94F-E972-4082-A1EE-20830D7D1410}" type="presParOf" srcId="{1D9E2B47-1F6D-4F1E-9078-EF82B32AE45F}" destId="{194EA8EA-C454-4ADE-84BE-A995C78231EA}" srcOrd="2" destOrd="0" presId="urn:microsoft.com/office/officeart/2005/8/layout/vList3"/>
    <dgm:cxn modelId="{E480BF58-82B8-4C87-BE07-ED177374D225}" type="presParOf" srcId="{194EA8EA-C454-4ADE-84BE-A995C78231EA}" destId="{74987432-E469-4D27-883B-2B3A471B097F}" srcOrd="0" destOrd="0" presId="urn:microsoft.com/office/officeart/2005/8/layout/vList3"/>
    <dgm:cxn modelId="{E26E4F19-70CE-4465-9EBF-44DB53FA7EC9}" type="presParOf" srcId="{194EA8EA-C454-4ADE-84BE-A995C78231EA}" destId="{F94BEEEE-9B6A-4CEA-BF7D-4EB51185C5D0}" srcOrd="1" destOrd="0" presId="urn:microsoft.com/office/officeart/2005/8/layout/vList3"/>
    <dgm:cxn modelId="{E870D78B-09C6-44C6-849D-695725ABAFB8}" type="presParOf" srcId="{1D9E2B47-1F6D-4F1E-9078-EF82B32AE45F}" destId="{51761780-DF9F-443F-859F-8D0DDF9694A1}" srcOrd="3" destOrd="0" presId="urn:microsoft.com/office/officeart/2005/8/layout/vList3"/>
    <dgm:cxn modelId="{FAB1E6DC-5405-4E33-BBB8-1153894DE69E}" type="presParOf" srcId="{1D9E2B47-1F6D-4F1E-9078-EF82B32AE45F}" destId="{D5E51673-77DB-493A-9538-00DC6C6EDBB7}" srcOrd="4" destOrd="0" presId="urn:microsoft.com/office/officeart/2005/8/layout/vList3"/>
    <dgm:cxn modelId="{A58C161E-F80C-4CFA-B7FC-A6DAA72F8163}" type="presParOf" srcId="{D5E51673-77DB-493A-9538-00DC6C6EDBB7}" destId="{82AB18DB-61E9-4FCD-8093-48F8EA0C049C}" srcOrd="0" destOrd="0" presId="urn:microsoft.com/office/officeart/2005/8/layout/vList3"/>
    <dgm:cxn modelId="{6AED7FBF-18F2-4D11-9F89-568BB4B0AA3C}" type="presParOf" srcId="{D5E51673-77DB-493A-9538-00DC6C6EDBB7}" destId="{5EDD185C-FFD8-47CF-A5A3-72A07533D779}" srcOrd="1" destOrd="0" presId="urn:microsoft.com/office/officeart/2005/8/layout/vList3"/>
    <dgm:cxn modelId="{90CF3998-94AE-4ED9-8FF8-8AAC883B1456}" type="presParOf" srcId="{1D9E2B47-1F6D-4F1E-9078-EF82B32AE45F}" destId="{8D369F36-1BEE-466C-BC49-1673A6388A4B}" srcOrd="5" destOrd="0" presId="urn:microsoft.com/office/officeart/2005/8/layout/vList3"/>
    <dgm:cxn modelId="{C5FB21EB-3D19-4DD4-817B-0DDB2E9209CD}" type="presParOf" srcId="{1D9E2B47-1F6D-4F1E-9078-EF82B32AE45F}" destId="{E8FBED75-23D8-4B76-B6DF-1C750BAF13E0}" srcOrd="6" destOrd="0" presId="urn:microsoft.com/office/officeart/2005/8/layout/vList3"/>
    <dgm:cxn modelId="{4D04442A-93F0-4624-BD3A-FE168751E96C}" type="presParOf" srcId="{E8FBED75-23D8-4B76-B6DF-1C750BAF13E0}" destId="{3BE3BC78-5249-4754-8271-37341B2A8AD1}" srcOrd="0" destOrd="0" presId="urn:microsoft.com/office/officeart/2005/8/layout/vList3"/>
    <dgm:cxn modelId="{98A3E725-13D3-47CD-B6A2-36C506FDDE02}" type="presParOf" srcId="{E8FBED75-23D8-4B76-B6DF-1C750BAF13E0}" destId="{9A709D66-D4B9-404D-A8D1-7C70765C837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D0C839-C97E-42E9-99FC-C2AFE535D9F3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77469E6C-18E3-4FA3-B9FB-4C1779BF46F4}">
      <dgm:prSet phldrT="[Text]" custT="1"/>
      <dgm:spPr/>
      <dgm:t>
        <a:bodyPr/>
        <a:lstStyle/>
        <a:p>
          <a:pPr algn="ctr"/>
          <a:r>
            <a:rPr lang="en-AU" sz="1200" b="1" dirty="0"/>
            <a:t>T6/2022</a:t>
          </a:r>
        </a:p>
        <a:p>
          <a:pPr algn="l"/>
          <a:r>
            <a:rPr lang="en-AU" sz="1200" dirty="0" err="1"/>
            <a:t>Bắt</a:t>
          </a:r>
          <a:r>
            <a:rPr lang="en-AU" sz="1200" dirty="0"/>
            <a:t> </a:t>
          </a:r>
          <a:r>
            <a:rPr lang="en-AU" sz="1200" dirty="0" err="1"/>
            <a:t>đầu</a:t>
          </a:r>
          <a:r>
            <a:rPr lang="en-AU" sz="1200" dirty="0"/>
            <a:t> DA</a:t>
          </a:r>
        </a:p>
      </dgm:t>
    </dgm:pt>
    <dgm:pt modelId="{8EEA72DD-655D-4125-852A-641C45205434}" type="parTrans" cxnId="{F6879767-6F91-42A3-998C-6B6FAFE50673}">
      <dgm:prSet/>
      <dgm:spPr/>
      <dgm:t>
        <a:bodyPr/>
        <a:lstStyle/>
        <a:p>
          <a:endParaRPr lang="en-AU"/>
        </a:p>
      </dgm:t>
    </dgm:pt>
    <dgm:pt modelId="{D8B2EC12-26BB-42F2-A0CA-01CA7D506F0A}" type="sibTrans" cxnId="{F6879767-6F91-42A3-998C-6B6FAFE50673}">
      <dgm:prSet/>
      <dgm:spPr/>
      <dgm:t>
        <a:bodyPr/>
        <a:lstStyle/>
        <a:p>
          <a:endParaRPr lang="en-AU"/>
        </a:p>
      </dgm:t>
    </dgm:pt>
    <dgm:pt modelId="{EFC0C1E3-D788-4AD0-B2A0-3B3EA02B1408}">
      <dgm:prSet phldrT="[Text]" custT="1"/>
      <dgm:spPr/>
      <dgm:t>
        <a:bodyPr/>
        <a:lstStyle/>
        <a:p>
          <a:pPr algn="ctr"/>
          <a:r>
            <a:rPr lang="en-AU" sz="1200" b="1" dirty="0"/>
            <a:t>T9-T10/2022</a:t>
          </a:r>
        </a:p>
        <a:p>
          <a:pPr algn="l"/>
          <a:r>
            <a:rPr lang="en-AU" sz="1200" dirty="0"/>
            <a:t>1. Mua </a:t>
          </a:r>
          <a:r>
            <a:rPr lang="en-AU" sz="1200" dirty="0" err="1"/>
            <a:t>sắm</a:t>
          </a:r>
          <a:endParaRPr lang="en-AU" sz="1200" dirty="0"/>
        </a:p>
        <a:p>
          <a:pPr algn="l"/>
          <a:r>
            <a:rPr lang="en-AU" sz="1200" dirty="0"/>
            <a:t>2. </a:t>
          </a:r>
          <a:r>
            <a:rPr lang="en-AU" sz="1200" dirty="0" err="1"/>
            <a:t>Xây</a:t>
          </a:r>
          <a:r>
            <a:rPr lang="en-AU" sz="1200" dirty="0"/>
            <a:t> </a:t>
          </a:r>
          <a:r>
            <a:rPr lang="en-AU" sz="1200" dirty="0" err="1"/>
            <a:t>dựng</a:t>
          </a:r>
          <a:r>
            <a:rPr lang="en-AU" sz="1200" dirty="0"/>
            <a:t> </a:t>
          </a:r>
          <a:r>
            <a:rPr lang="en-AU" sz="1200" dirty="0" err="1"/>
            <a:t>phần</a:t>
          </a:r>
          <a:r>
            <a:rPr lang="en-AU" sz="1200" dirty="0"/>
            <a:t> </a:t>
          </a:r>
          <a:r>
            <a:rPr lang="en-AU" sz="1200" dirty="0" err="1"/>
            <a:t>mềm</a:t>
          </a:r>
          <a:endParaRPr lang="en-AU" sz="1200" dirty="0"/>
        </a:p>
        <a:p>
          <a:pPr algn="l"/>
          <a:r>
            <a:rPr lang="en-AU" sz="1200" dirty="0"/>
            <a:t>3. </a:t>
          </a:r>
          <a:r>
            <a:rPr lang="en-AU" sz="1200" dirty="0" err="1"/>
            <a:t>Xây</a:t>
          </a:r>
          <a:r>
            <a:rPr lang="en-AU" sz="1200" dirty="0"/>
            <a:t> </a:t>
          </a:r>
          <a:r>
            <a:rPr lang="en-AU" sz="1200" dirty="0" err="1"/>
            <a:t>dựng</a:t>
          </a:r>
          <a:r>
            <a:rPr lang="en-AU" sz="1200" dirty="0"/>
            <a:t> </a:t>
          </a:r>
          <a:r>
            <a:rPr lang="en-AU" sz="1200" dirty="0" err="1"/>
            <a:t>quy</a:t>
          </a:r>
          <a:r>
            <a:rPr lang="en-AU" sz="1200" dirty="0"/>
            <a:t> </a:t>
          </a:r>
          <a:r>
            <a:rPr lang="en-AU" sz="1200" dirty="0" err="1"/>
            <a:t>trình</a:t>
          </a:r>
          <a:r>
            <a:rPr lang="en-AU" sz="1200" dirty="0"/>
            <a:t> &amp; </a:t>
          </a:r>
          <a:r>
            <a:rPr lang="en-AU" sz="1200" dirty="0" err="1"/>
            <a:t>tài</a:t>
          </a:r>
          <a:r>
            <a:rPr lang="en-AU" sz="1200" dirty="0"/>
            <a:t> </a:t>
          </a:r>
          <a:r>
            <a:rPr lang="en-AU" sz="1200" dirty="0" err="1"/>
            <a:t>liệu</a:t>
          </a:r>
          <a:r>
            <a:rPr lang="en-AU" sz="1200" dirty="0"/>
            <a:t> DA</a:t>
          </a:r>
        </a:p>
        <a:p>
          <a:pPr algn="l"/>
          <a:r>
            <a:rPr lang="en-AU" sz="1200" dirty="0"/>
            <a:t>4. </a:t>
          </a:r>
          <a:r>
            <a:rPr lang="en-AU" sz="1200" dirty="0" err="1"/>
            <a:t>Xây</a:t>
          </a:r>
          <a:r>
            <a:rPr lang="en-AU" sz="1200" dirty="0"/>
            <a:t> </a:t>
          </a:r>
          <a:r>
            <a:rPr lang="en-AU" sz="1200" dirty="0" err="1"/>
            <a:t>dựng</a:t>
          </a:r>
          <a:r>
            <a:rPr lang="en-AU" sz="1200" dirty="0"/>
            <a:t> </a:t>
          </a:r>
          <a:r>
            <a:rPr lang="en-AU" sz="1200" dirty="0" err="1"/>
            <a:t>tài</a:t>
          </a:r>
          <a:r>
            <a:rPr lang="en-AU" sz="1200" dirty="0"/>
            <a:t> </a:t>
          </a:r>
          <a:r>
            <a:rPr lang="en-AU" sz="1200" dirty="0" err="1"/>
            <a:t>liệu</a:t>
          </a:r>
          <a:r>
            <a:rPr lang="en-AU" sz="1200" dirty="0"/>
            <a:t> </a:t>
          </a:r>
          <a:r>
            <a:rPr lang="en-AU" sz="1200" dirty="0" err="1"/>
            <a:t>truyền</a:t>
          </a:r>
          <a:r>
            <a:rPr lang="en-AU" sz="1200" dirty="0"/>
            <a:t> </a:t>
          </a:r>
          <a:r>
            <a:rPr lang="en-AU" sz="1200" dirty="0" err="1"/>
            <a:t>thông</a:t>
          </a:r>
          <a:endParaRPr lang="en-AU" sz="1200" dirty="0"/>
        </a:p>
      </dgm:t>
    </dgm:pt>
    <dgm:pt modelId="{C3671568-E235-43AE-AE8C-E644E3178C92}" type="parTrans" cxnId="{9377C78B-30E4-4A47-9D7E-65570D4205E2}">
      <dgm:prSet/>
      <dgm:spPr/>
      <dgm:t>
        <a:bodyPr/>
        <a:lstStyle/>
        <a:p>
          <a:endParaRPr lang="en-AU"/>
        </a:p>
      </dgm:t>
    </dgm:pt>
    <dgm:pt modelId="{AA4EB6E8-A5D7-433D-AF28-69C52C48C056}" type="sibTrans" cxnId="{9377C78B-30E4-4A47-9D7E-65570D4205E2}">
      <dgm:prSet/>
      <dgm:spPr/>
      <dgm:t>
        <a:bodyPr/>
        <a:lstStyle/>
        <a:p>
          <a:endParaRPr lang="en-AU"/>
        </a:p>
      </dgm:t>
    </dgm:pt>
    <dgm:pt modelId="{7770AA47-A398-4844-96BE-F44ED506B002}">
      <dgm:prSet phldrT="[Text]" custT="1"/>
      <dgm:spPr/>
      <dgm:t>
        <a:bodyPr/>
        <a:lstStyle/>
        <a:p>
          <a:pPr algn="ctr"/>
          <a:r>
            <a:rPr lang="en-AU" sz="1200" b="1" dirty="0"/>
            <a:t>T10/2022</a:t>
          </a:r>
        </a:p>
        <a:p>
          <a:pPr algn="l"/>
          <a:r>
            <a:rPr lang="en-AU" sz="1200" dirty="0"/>
            <a:t>1. </a:t>
          </a:r>
          <a:r>
            <a:rPr lang="en-AU" sz="1200" dirty="0" err="1"/>
            <a:t>Tập</a:t>
          </a:r>
          <a:r>
            <a:rPr lang="en-AU" sz="1200" dirty="0"/>
            <a:t> </a:t>
          </a:r>
          <a:r>
            <a:rPr lang="en-AU" sz="1200" dirty="0" err="1"/>
            <a:t>huấn</a:t>
          </a:r>
          <a:r>
            <a:rPr lang="en-AU" sz="1200" dirty="0"/>
            <a:t> &amp; </a:t>
          </a:r>
          <a:r>
            <a:rPr lang="en-AU" sz="1200" dirty="0" err="1"/>
            <a:t>thí</a:t>
          </a:r>
          <a:r>
            <a:rPr lang="en-AU" sz="1200" dirty="0"/>
            <a:t> </a:t>
          </a:r>
          <a:r>
            <a:rPr lang="en-AU" sz="1200" dirty="0" err="1"/>
            <a:t>điểm</a:t>
          </a:r>
          <a:r>
            <a:rPr lang="en-AU" sz="1200" dirty="0"/>
            <a:t> </a:t>
          </a:r>
          <a:r>
            <a:rPr lang="en-AU" sz="1200" dirty="0" err="1"/>
            <a:t>tại</a:t>
          </a:r>
          <a:r>
            <a:rPr lang="en-AU" sz="1200" dirty="0"/>
            <a:t> 10 </a:t>
          </a:r>
          <a:r>
            <a:rPr lang="en-AU" sz="1200" dirty="0" err="1"/>
            <a:t>xã</a:t>
          </a:r>
          <a:endParaRPr lang="en-AU" sz="1200" dirty="0"/>
        </a:p>
        <a:p>
          <a:pPr algn="l"/>
          <a:r>
            <a:rPr lang="en-AU" sz="1200" dirty="0"/>
            <a:t>2. </a:t>
          </a:r>
          <a:r>
            <a:rPr lang="en-AU" sz="1200" dirty="0" err="1"/>
            <a:t>Lắp</a:t>
          </a:r>
          <a:r>
            <a:rPr lang="en-AU" sz="1200" dirty="0"/>
            <a:t> </a:t>
          </a:r>
          <a:r>
            <a:rPr lang="en-AU" sz="1200" dirty="0" err="1"/>
            <a:t>đặt</a:t>
          </a:r>
          <a:r>
            <a:rPr lang="en-AU" sz="1200" dirty="0"/>
            <a:t> </a:t>
          </a:r>
          <a:r>
            <a:rPr lang="en-AU" sz="1200" dirty="0" err="1"/>
            <a:t>hệ</a:t>
          </a:r>
          <a:r>
            <a:rPr lang="en-AU" sz="1200" dirty="0"/>
            <a:t> </a:t>
          </a:r>
          <a:r>
            <a:rPr lang="en-AU" sz="1200" dirty="0" err="1"/>
            <a:t>thống</a:t>
          </a:r>
          <a:r>
            <a:rPr lang="en-AU" sz="1200" dirty="0"/>
            <a:t> GeneXpert &amp; </a:t>
          </a:r>
          <a:r>
            <a:rPr lang="en-AU" sz="1200" dirty="0" err="1"/>
            <a:t>đào</a:t>
          </a:r>
          <a:r>
            <a:rPr lang="en-AU" sz="1200" dirty="0"/>
            <a:t> </a:t>
          </a:r>
          <a:r>
            <a:rPr lang="en-AU" sz="1200" dirty="0" err="1"/>
            <a:t>tạo</a:t>
          </a:r>
          <a:endParaRPr lang="en-AU" sz="1200" dirty="0"/>
        </a:p>
        <a:p>
          <a:pPr algn="l"/>
          <a:r>
            <a:rPr lang="en-AU" sz="1200" dirty="0"/>
            <a:t>3. </a:t>
          </a:r>
          <a:r>
            <a:rPr lang="en-AU" sz="1200" dirty="0" err="1"/>
            <a:t>Đánh</a:t>
          </a:r>
          <a:r>
            <a:rPr lang="en-AU" sz="1200" dirty="0"/>
            <a:t> </a:t>
          </a:r>
          <a:r>
            <a:rPr lang="en-AU" sz="1200" dirty="0" err="1"/>
            <a:t>giá</a:t>
          </a:r>
          <a:r>
            <a:rPr lang="en-AU" sz="1200" dirty="0"/>
            <a:t> </a:t>
          </a:r>
          <a:r>
            <a:rPr lang="en-AU" sz="1200" dirty="0" err="1"/>
            <a:t>nhu</a:t>
          </a:r>
          <a:r>
            <a:rPr lang="en-AU" sz="1200" dirty="0"/>
            <a:t> </a:t>
          </a:r>
          <a:r>
            <a:rPr lang="en-AU" sz="1200" dirty="0" err="1"/>
            <a:t>cầu</a:t>
          </a:r>
          <a:r>
            <a:rPr lang="en-AU" sz="1200" dirty="0"/>
            <a:t> </a:t>
          </a:r>
          <a:r>
            <a:rPr lang="en-AU" sz="1200" dirty="0" err="1"/>
            <a:t>cấp</a:t>
          </a:r>
          <a:r>
            <a:rPr lang="en-AU" sz="1200" dirty="0"/>
            <a:t> </a:t>
          </a:r>
          <a:r>
            <a:rPr lang="en-AU" sz="1200" dirty="0" err="1"/>
            <a:t>vật</a:t>
          </a:r>
          <a:r>
            <a:rPr lang="en-AU" sz="1200" dirty="0"/>
            <a:t> </a:t>
          </a:r>
          <a:r>
            <a:rPr lang="en-AU" sz="1200" dirty="0" err="1"/>
            <a:t>tư</a:t>
          </a:r>
          <a:r>
            <a:rPr lang="en-AU" sz="1200" dirty="0"/>
            <a:t> </a:t>
          </a:r>
          <a:r>
            <a:rPr lang="en-AU" sz="1200" dirty="0" err="1"/>
            <a:t>tiêu</a:t>
          </a:r>
          <a:r>
            <a:rPr lang="en-AU" sz="1200" dirty="0"/>
            <a:t> </a:t>
          </a:r>
          <a:r>
            <a:rPr lang="en-AU" sz="1200" dirty="0" err="1"/>
            <a:t>hao</a:t>
          </a:r>
          <a:endParaRPr lang="en-AU" sz="1200" dirty="0"/>
        </a:p>
      </dgm:t>
    </dgm:pt>
    <dgm:pt modelId="{81F30497-2A68-4C6A-9A70-B67B84682B10}" type="parTrans" cxnId="{3515532A-1824-4CC7-856B-40064BC30401}">
      <dgm:prSet/>
      <dgm:spPr/>
      <dgm:t>
        <a:bodyPr/>
        <a:lstStyle/>
        <a:p>
          <a:endParaRPr lang="en-AU"/>
        </a:p>
      </dgm:t>
    </dgm:pt>
    <dgm:pt modelId="{AC2F58FA-04C5-442A-BFBE-7019904659B5}" type="sibTrans" cxnId="{3515532A-1824-4CC7-856B-40064BC30401}">
      <dgm:prSet/>
      <dgm:spPr/>
      <dgm:t>
        <a:bodyPr/>
        <a:lstStyle/>
        <a:p>
          <a:endParaRPr lang="en-AU"/>
        </a:p>
      </dgm:t>
    </dgm:pt>
    <dgm:pt modelId="{C807D335-CEC4-4F11-B71E-46E9A83A9EBE}">
      <dgm:prSet phldrT="[Text]" custT="1"/>
      <dgm:spPr/>
      <dgm:t>
        <a:bodyPr/>
        <a:lstStyle/>
        <a:p>
          <a:pPr algn="ctr"/>
          <a:r>
            <a:rPr lang="en-AU" sz="1200" b="1" dirty="0"/>
            <a:t>T11/2023</a:t>
          </a:r>
        </a:p>
        <a:p>
          <a:pPr algn="l"/>
          <a:r>
            <a:rPr lang="en-AU" sz="1200" dirty="0"/>
            <a:t>1. </a:t>
          </a:r>
          <a:r>
            <a:rPr lang="en-AU" sz="1200" dirty="0" err="1"/>
            <a:t>Tập</a:t>
          </a:r>
          <a:r>
            <a:rPr lang="en-AU" sz="1200" dirty="0"/>
            <a:t> </a:t>
          </a:r>
          <a:r>
            <a:rPr lang="en-AU" sz="1200" dirty="0" err="1"/>
            <a:t>huấn</a:t>
          </a:r>
          <a:r>
            <a:rPr lang="en-AU" sz="1200" dirty="0"/>
            <a:t> &amp; </a:t>
          </a:r>
          <a:r>
            <a:rPr lang="en-AU" sz="1200" dirty="0" err="1"/>
            <a:t>triển</a:t>
          </a:r>
          <a:r>
            <a:rPr lang="en-AU" sz="1200" dirty="0"/>
            <a:t> </a:t>
          </a:r>
          <a:r>
            <a:rPr lang="en-AU" sz="1200" dirty="0" err="1"/>
            <a:t>khai</a:t>
          </a:r>
          <a:r>
            <a:rPr lang="en-AU" sz="1200" dirty="0"/>
            <a:t> </a:t>
          </a:r>
          <a:r>
            <a:rPr lang="en-AU" sz="1200" dirty="0" err="1"/>
            <a:t>tại</a:t>
          </a:r>
          <a:r>
            <a:rPr lang="en-AU" sz="1200" dirty="0"/>
            <a:t> </a:t>
          </a:r>
          <a:r>
            <a:rPr lang="en-AU" sz="1200" dirty="0" err="1"/>
            <a:t>các</a:t>
          </a:r>
          <a:r>
            <a:rPr lang="en-AU" sz="1200" dirty="0"/>
            <a:t> CSYT </a:t>
          </a:r>
          <a:r>
            <a:rPr lang="en-AU" sz="1200" dirty="0" err="1"/>
            <a:t>còn</a:t>
          </a:r>
          <a:r>
            <a:rPr lang="en-AU" sz="1200" dirty="0"/>
            <a:t> </a:t>
          </a:r>
          <a:r>
            <a:rPr lang="en-AU" sz="1200" dirty="0" err="1"/>
            <a:t>lại</a:t>
          </a:r>
          <a:endParaRPr lang="en-AU" sz="1200" dirty="0"/>
        </a:p>
        <a:p>
          <a:pPr algn="l"/>
          <a:r>
            <a:rPr lang="en-AU" sz="1200" dirty="0"/>
            <a:t>2. </a:t>
          </a:r>
          <a:r>
            <a:rPr lang="en-AU" sz="1200" dirty="0" err="1"/>
            <a:t>Phân</a:t>
          </a:r>
          <a:r>
            <a:rPr lang="en-AU" sz="1200" dirty="0"/>
            <a:t> </a:t>
          </a:r>
          <a:r>
            <a:rPr lang="en-AU" sz="1200" dirty="0" err="1"/>
            <a:t>phối</a:t>
          </a:r>
          <a:r>
            <a:rPr lang="en-AU" sz="1200" dirty="0"/>
            <a:t> test &amp; </a:t>
          </a:r>
          <a:r>
            <a:rPr lang="en-AU" sz="1200" dirty="0" err="1"/>
            <a:t>vật</a:t>
          </a:r>
          <a:r>
            <a:rPr lang="en-AU" sz="1200" dirty="0"/>
            <a:t> </a:t>
          </a:r>
          <a:r>
            <a:rPr lang="en-AU" sz="1200" dirty="0" err="1"/>
            <a:t>tư</a:t>
          </a:r>
          <a:endParaRPr lang="en-AU" sz="1200" dirty="0"/>
        </a:p>
        <a:p>
          <a:pPr algn="l"/>
          <a:r>
            <a:rPr lang="en-AU" sz="1200" dirty="0"/>
            <a:t>3. </a:t>
          </a:r>
          <a:r>
            <a:rPr lang="en-AU" sz="1200" dirty="0" err="1"/>
            <a:t>Phân</a:t>
          </a:r>
          <a:r>
            <a:rPr lang="en-AU" sz="1200" dirty="0"/>
            <a:t> </a:t>
          </a:r>
          <a:r>
            <a:rPr lang="en-AU" sz="1200" dirty="0" err="1"/>
            <a:t>phối</a:t>
          </a:r>
          <a:r>
            <a:rPr lang="en-AU" sz="1200" dirty="0"/>
            <a:t> </a:t>
          </a:r>
          <a:r>
            <a:rPr lang="en-AU" sz="1200" dirty="0" err="1"/>
            <a:t>tài</a:t>
          </a:r>
          <a:r>
            <a:rPr lang="en-AU" sz="1200" dirty="0"/>
            <a:t> </a:t>
          </a:r>
          <a:r>
            <a:rPr lang="en-AU" sz="1200" dirty="0" err="1"/>
            <a:t>liệu</a:t>
          </a:r>
          <a:r>
            <a:rPr lang="en-AU" sz="1200" dirty="0"/>
            <a:t> </a:t>
          </a:r>
          <a:r>
            <a:rPr lang="en-AU" sz="1200" dirty="0" err="1"/>
            <a:t>truyền</a:t>
          </a:r>
          <a:r>
            <a:rPr lang="en-AU" sz="1200" dirty="0"/>
            <a:t> </a:t>
          </a:r>
          <a:r>
            <a:rPr lang="en-AU" sz="1200" dirty="0" err="1"/>
            <a:t>thông</a:t>
          </a:r>
          <a:endParaRPr lang="en-AU" sz="1200" dirty="0"/>
        </a:p>
      </dgm:t>
    </dgm:pt>
    <dgm:pt modelId="{E9AF990E-97E2-452B-87AE-84A93C5B9B77}" type="parTrans" cxnId="{C914C847-F48D-411B-8908-335AF5EDF47C}">
      <dgm:prSet/>
      <dgm:spPr/>
      <dgm:t>
        <a:bodyPr/>
        <a:lstStyle/>
        <a:p>
          <a:endParaRPr lang="en-AU"/>
        </a:p>
      </dgm:t>
    </dgm:pt>
    <dgm:pt modelId="{1F513CD6-F4A8-4EEE-8F0B-D8A967F18D9A}" type="sibTrans" cxnId="{C914C847-F48D-411B-8908-335AF5EDF47C}">
      <dgm:prSet/>
      <dgm:spPr/>
      <dgm:t>
        <a:bodyPr/>
        <a:lstStyle/>
        <a:p>
          <a:endParaRPr lang="en-AU"/>
        </a:p>
      </dgm:t>
    </dgm:pt>
    <dgm:pt modelId="{1F584BA7-3F7D-4C10-A726-8820BE50FBFB}">
      <dgm:prSet phldrT="[Text]" custT="1"/>
      <dgm:spPr/>
      <dgm:t>
        <a:bodyPr/>
        <a:lstStyle/>
        <a:p>
          <a:pPr algn="ctr"/>
          <a:r>
            <a:rPr lang="en-AU" sz="1200" b="1" dirty="0"/>
            <a:t>T10/2022-T6/2023</a:t>
          </a:r>
        </a:p>
        <a:p>
          <a:pPr algn="l"/>
          <a:r>
            <a:rPr lang="en-AU" sz="1200" dirty="0"/>
            <a:t>1. </a:t>
          </a:r>
          <a:r>
            <a:rPr lang="en-AU" sz="1200" dirty="0" err="1"/>
            <a:t>Thực</a:t>
          </a:r>
          <a:r>
            <a:rPr lang="en-AU" sz="1200" dirty="0"/>
            <a:t> </a:t>
          </a:r>
          <a:r>
            <a:rPr lang="en-AU" sz="1200" dirty="0" err="1"/>
            <a:t>hiện</a:t>
          </a:r>
          <a:r>
            <a:rPr lang="en-AU" sz="1200" dirty="0"/>
            <a:t> </a:t>
          </a:r>
          <a:r>
            <a:rPr lang="en-AU" sz="1200" dirty="0" err="1"/>
            <a:t>khám</a:t>
          </a:r>
          <a:r>
            <a:rPr lang="en-AU" sz="1200" dirty="0"/>
            <a:t>, </a:t>
          </a:r>
          <a:r>
            <a:rPr lang="en-AU" sz="1200" dirty="0" err="1"/>
            <a:t>sàng</a:t>
          </a:r>
          <a:r>
            <a:rPr lang="en-AU" sz="1200" dirty="0"/>
            <a:t> </a:t>
          </a:r>
          <a:r>
            <a:rPr lang="en-AU" sz="1200" dirty="0" err="1"/>
            <a:t>lọc</a:t>
          </a:r>
          <a:r>
            <a:rPr lang="en-AU" sz="1200" dirty="0"/>
            <a:t> </a:t>
          </a:r>
          <a:r>
            <a:rPr lang="en-AU" sz="1200" dirty="0" err="1"/>
            <a:t>và</a:t>
          </a:r>
          <a:r>
            <a:rPr lang="en-AU" sz="1200" dirty="0"/>
            <a:t> </a:t>
          </a:r>
          <a:r>
            <a:rPr lang="en-AU" sz="1200" dirty="0" err="1"/>
            <a:t>xét</a:t>
          </a:r>
          <a:r>
            <a:rPr lang="en-AU" sz="1200" dirty="0"/>
            <a:t> </a:t>
          </a:r>
          <a:r>
            <a:rPr lang="en-AU" sz="1200" dirty="0" err="1"/>
            <a:t>nghiệm</a:t>
          </a:r>
          <a:r>
            <a:rPr lang="en-AU" sz="1200" dirty="0"/>
            <a:t> </a:t>
          </a:r>
          <a:r>
            <a:rPr lang="en-AU" sz="1200" dirty="0" err="1"/>
            <a:t>tại</a:t>
          </a:r>
          <a:r>
            <a:rPr lang="en-AU" sz="1200" dirty="0"/>
            <a:t> CSYT</a:t>
          </a:r>
        </a:p>
        <a:p>
          <a:pPr algn="l"/>
          <a:r>
            <a:rPr lang="en-AU" sz="1200" dirty="0"/>
            <a:t>2. </a:t>
          </a:r>
          <a:r>
            <a:rPr lang="en-AU" sz="1200" dirty="0" err="1"/>
            <a:t>Thực</a:t>
          </a:r>
          <a:r>
            <a:rPr lang="en-AU" sz="1200" dirty="0"/>
            <a:t> </a:t>
          </a:r>
          <a:r>
            <a:rPr lang="en-AU" sz="1200" dirty="0" err="1"/>
            <a:t>hiện</a:t>
          </a:r>
          <a:r>
            <a:rPr lang="en-AU" sz="1200" dirty="0"/>
            <a:t> </a:t>
          </a:r>
          <a:r>
            <a:rPr lang="en-AU" sz="1200" dirty="0" err="1"/>
            <a:t>truyền</a:t>
          </a:r>
          <a:r>
            <a:rPr lang="en-AU" sz="1200" dirty="0"/>
            <a:t> </a:t>
          </a:r>
          <a:r>
            <a:rPr lang="en-AU" sz="1200" dirty="0" err="1"/>
            <a:t>thông</a:t>
          </a:r>
          <a:r>
            <a:rPr lang="en-AU" sz="1200" dirty="0"/>
            <a:t> </a:t>
          </a:r>
          <a:r>
            <a:rPr lang="en-AU" sz="1200" dirty="0" err="1"/>
            <a:t>tại</a:t>
          </a:r>
          <a:r>
            <a:rPr lang="en-AU" sz="1200" dirty="0"/>
            <a:t> </a:t>
          </a:r>
          <a:r>
            <a:rPr lang="en-AU" sz="1200" dirty="0" err="1"/>
            <a:t>xã</a:t>
          </a:r>
          <a:r>
            <a:rPr lang="en-AU" sz="1200" dirty="0"/>
            <a:t>, </a:t>
          </a:r>
          <a:r>
            <a:rPr lang="en-AU" sz="1200" dirty="0" err="1"/>
            <a:t>huyện</a:t>
          </a:r>
          <a:endParaRPr lang="en-AU" sz="1200" dirty="0"/>
        </a:p>
        <a:p>
          <a:pPr algn="l"/>
          <a:r>
            <a:rPr lang="en-AU" sz="1200" dirty="0"/>
            <a:t>3. </a:t>
          </a:r>
          <a:r>
            <a:rPr lang="en-AU" sz="1200" dirty="0" err="1"/>
            <a:t>Giám</a:t>
          </a:r>
          <a:r>
            <a:rPr lang="en-AU" sz="1200" dirty="0"/>
            <a:t> </a:t>
          </a:r>
          <a:r>
            <a:rPr lang="en-AU" sz="1200" dirty="0" err="1"/>
            <a:t>sát</a:t>
          </a:r>
          <a:r>
            <a:rPr lang="en-AU" sz="1200" dirty="0"/>
            <a:t> </a:t>
          </a:r>
          <a:r>
            <a:rPr lang="en-AU" sz="1200" dirty="0" err="1"/>
            <a:t>hỗ</a:t>
          </a:r>
          <a:r>
            <a:rPr lang="en-AU" sz="1200" dirty="0"/>
            <a:t> </a:t>
          </a:r>
          <a:r>
            <a:rPr lang="en-AU" sz="1200" dirty="0" err="1"/>
            <a:t>trợ</a:t>
          </a:r>
          <a:r>
            <a:rPr lang="en-AU" sz="1200" dirty="0"/>
            <a:t> </a:t>
          </a:r>
          <a:r>
            <a:rPr lang="en-AU" sz="1200" dirty="0" err="1"/>
            <a:t>các</a:t>
          </a:r>
          <a:r>
            <a:rPr lang="en-AU" sz="1200" dirty="0"/>
            <a:t> CSYT</a:t>
          </a:r>
        </a:p>
      </dgm:t>
    </dgm:pt>
    <dgm:pt modelId="{E1C8CC56-133B-42B1-9E0E-7514D2411038}" type="parTrans" cxnId="{1FBFD7E5-EFD9-4D36-9CDF-977A930CD05F}">
      <dgm:prSet/>
      <dgm:spPr/>
      <dgm:t>
        <a:bodyPr/>
        <a:lstStyle/>
        <a:p>
          <a:endParaRPr lang="en-AU"/>
        </a:p>
      </dgm:t>
    </dgm:pt>
    <dgm:pt modelId="{84211476-6E1A-451F-8F1F-2767B8B256DC}" type="sibTrans" cxnId="{1FBFD7E5-EFD9-4D36-9CDF-977A930CD05F}">
      <dgm:prSet/>
      <dgm:spPr/>
      <dgm:t>
        <a:bodyPr/>
        <a:lstStyle/>
        <a:p>
          <a:endParaRPr lang="en-AU"/>
        </a:p>
      </dgm:t>
    </dgm:pt>
    <dgm:pt modelId="{9D57D90E-3363-432D-B34E-1B34CBBAE975}">
      <dgm:prSet phldrT="[Text]" custT="1"/>
      <dgm:spPr/>
      <dgm:t>
        <a:bodyPr/>
        <a:lstStyle/>
        <a:p>
          <a:pPr algn="ctr"/>
          <a:r>
            <a:rPr lang="en-AU" sz="1200" b="1" dirty="0"/>
            <a:t>T7-T9/2023</a:t>
          </a:r>
        </a:p>
        <a:p>
          <a:pPr algn="l"/>
          <a:r>
            <a:rPr lang="en-AU" sz="1200" dirty="0"/>
            <a:t>1. </a:t>
          </a:r>
          <a:r>
            <a:rPr lang="en-AU" sz="1200" dirty="0" err="1"/>
            <a:t>Mở</a:t>
          </a:r>
          <a:r>
            <a:rPr lang="en-AU" sz="1200" dirty="0"/>
            <a:t> </a:t>
          </a:r>
          <a:r>
            <a:rPr lang="en-AU" sz="1200" dirty="0" err="1"/>
            <a:t>rộng</a:t>
          </a:r>
          <a:r>
            <a:rPr lang="en-AU" sz="1200" dirty="0"/>
            <a:t> </a:t>
          </a:r>
          <a:r>
            <a:rPr lang="en-AU" sz="1200" dirty="0" err="1"/>
            <a:t>phần</a:t>
          </a:r>
          <a:r>
            <a:rPr lang="en-AU" sz="1200" dirty="0"/>
            <a:t> </a:t>
          </a:r>
          <a:r>
            <a:rPr lang="en-AU" sz="1200" dirty="0" err="1"/>
            <a:t>mềm</a:t>
          </a:r>
          <a:r>
            <a:rPr lang="en-AU" sz="1200" dirty="0"/>
            <a:t> </a:t>
          </a:r>
        </a:p>
        <a:p>
          <a:pPr algn="l"/>
          <a:r>
            <a:rPr lang="en-AU" sz="1200" dirty="0"/>
            <a:t>2. </a:t>
          </a:r>
          <a:r>
            <a:rPr lang="en-AU" sz="1200" dirty="0" err="1"/>
            <a:t>Đánh</a:t>
          </a:r>
          <a:r>
            <a:rPr lang="en-AU" sz="1200" dirty="0"/>
            <a:t> </a:t>
          </a:r>
          <a:r>
            <a:rPr lang="en-AU" sz="1200" dirty="0" err="1"/>
            <a:t>giá</a:t>
          </a:r>
          <a:r>
            <a:rPr lang="en-AU" sz="1200" dirty="0"/>
            <a:t> </a:t>
          </a:r>
          <a:r>
            <a:rPr lang="en-AU" sz="1200" dirty="0" err="1"/>
            <a:t>tác</a:t>
          </a:r>
          <a:r>
            <a:rPr lang="en-AU" sz="1200" dirty="0"/>
            <a:t> </a:t>
          </a:r>
          <a:r>
            <a:rPr lang="en-AU" sz="1200" dirty="0" err="1"/>
            <a:t>động</a:t>
          </a:r>
          <a:r>
            <a:rPr lang="en-AU" sz="1200" dirty="0"/>
            <a:t> DA</a:t>
          </a:r>
        </a:p>
        <a:p>
          <a:pPr algn="l"/>
          <a:r>
            <a:rPr lang="en-AU" sz="1200" dirty="0"/>
            <a:t>3. </a:t>
          </a:r>
          <a:r>
            <a:rPr lang="en-AU" sz="1200" dirty="0" err="1"/>
            <a:t>Tổng</a:t>
          </a:r>
          <a:r>
            <a:rPr lang="en-AU" sz="1200" dirty="0"/>
            <a:t> </a:t>
          </a:r>
          <a:r>
            <a:rPr lang="en-AU" sz="1200" dirty="0" err="1"/>
            <a:t>kết</a:t>
          </a:r>
          <a:r>
            <a:rPr lang="en-AU" sz="1200" dirty="0"/>
            <a:t> DA</a:t>
          </a:r>
        </a:p>
      </dgm:t>
    </dgm:pt>
    <dgm:pt modelId="{D3E9727A-0D7E-4CC8-8DCA-CB557AC54965}" type="sibTrans" cxnId="{1B4DFD52-7A75-4D76-B878-7922E2DC0C49}">
      <dgm:prSet/>
      <dgm:spPr/>
      <dgm:t>
        <a:bodyPr/>
        <a:lstStyle/>
        <a:p>
          <a:endParaRPr lang="en-AU"/>
        </a:p>
      </dgm:t>
    </dgm:pt>
    <dgm:pt modelId="{422F5DA0-13A8-4467-8205-403A86832854}" type="parTrans" cxnId="{1B4DFD52-7A75-4D76-B878-7922E2DC0C49}">
      <dgm:prSet/>
      <dgm:spPr/>
      <dgm:t>
        <a:bodyPr/>
        <a:lstStyle/>
        <a:p>
          <a:endParaRPr lang="en-AU"/>
        </a:p>
      </dgm:t>
    </dgm:pt>
    <dgm:pt modelId="{F0354980-2912-4810-AB6F-837845E96217}">
      <dgm:prSet phldrT="[Text]" custT="1"/>
      <dgm:spPr/>
      <dgm:t>
        <a:bodyPr/>
        <a:lstStyle/>
        <a:p>
          <a:r>
            <a:rPr lang="en-AU" sz="1200" b="1" dirty="0"/>
            <a:t>T9/2023</a:t>
          </a:r>
        </a:p>
        <a:p>
          <a:r>
            <a:rPr lang="en-AU" sz="1200" dirty="0" err="1"/>
            <a:t>Kết</a:t>
          </a:r>
          <a:r>
            <a:rPr lang="en-AU" sz="1200" dirty="0"/>
            <a:t> </a:t>
          </a:r>
          <a:r>
            <a:rPr lang="en-AU" sz="1200" dirty="0" err="1"/>
            <a:t>thúc</a:t>
          </a:r>
          <a:r>
            <a:rPr lang="en-AU" sz="1200" dirty="0"/>
            <a:t> DA</a:t>
          </a:r>
        </a:p>
      </dgm:t>
    </dgm:pt>
    <dgm:pt modelId="{D17F49C8-7E40-4782-A9EE-87134FA7E6E0}" type="parTrans" cxnId="{F9409FAC-7D42-4AB9-A558-C757C41BA638}">
      <dgm:prSet/>
      <dgm:spPr/>
      <dgm:t>
        <a:bodyPr/>
        <a:lstStyle/>
        <a:p>
          <a:endParaRPr lang="en-AU"/>
        </a:p>
      </dgm:t>
    </dgm:pt>
    <dgm:pt modelId="{0FB9433C-5F67-4FB2-A3FD-288056FFB28B}" type="sibTrans" cxnId="{F9409FAC-7D42-4AB9-A558-C757C41BA638}">
      <dgm:prSet/>
      <dgm:spPr/>
      <dgm:t>
        <a:bodyPr/>
        <a:lstStyle/>
        <a:p>
          <a:endParaRPr lang="en-AU"/>
        </a:p>
      </dgm:t>
    </dgm:pt>
    <dgm:pt modelId="{BB65CFCB-31DE-4D3E-958B-3E8DC86AB059}">
      <dgm:prSet phldrT="[Text]" custT="1"/>
      <dgm:spPr/>
      <dgm:t>
        <a:bodyPr/>
        <a:lstStyle/>
        <a:p>
          <a:pPr algn="ctr"/>
          <a:r>
            <a:rPr lang="en-AU" sz="1200" b="1" dirty="0">
              <a:latin typeface="Arial (Body)"/>
            </a:rPr>
            <a:t>T6-T8/2022</a:t>
          </a:r>
        </a:p>
        <a:p>
          <a:pPr algn="l"/>
          <a:r>
            <a:rPr lang="en-AU" sz="1200" dirty="0">
              <a:latin typeface="Arial (Body)"/>
            </a:rPr>
            <a:t>1. </a:t>
          </a:r>
          <a:r>
            <a:rPr lang="en-AU" sz="1200" dirty="0" err="1">
              <a:latin typeface="Arial (Body)"/>
            </a:rPr>
            <a:t>Ký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kết</a:t>
          </a:r>
          <a:r>
            <a:rPr lang="en-AU" sz="1200" dirty="0">
              <a:latin typeface="Arial (Body)"/>
            </a:rPr>
            <a:t> MoU &amp; </a:t>
          </a:r>
          <a:r>
            <a:rPr lang="en-AU" sz="1200" dirty="0" err="1">
              <a:latin typeface="Arial (Body)"/>
            </a:rPr>
            <a:t>chuẩn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bị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triển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khai</a:t>
          </a:r>
          <a:endParaRPr lang="en-AU" sz="1200" dirty="0">
            <a:latin typeface="Arial (Body)"/>
          </a:endParaRPr>
        </a:p>
        <a:p>
          <a:pPr algn="l"/>
          <a:r>
            <a:rPr lang="en-AU" sz="1200" dirty="0">
              <a:latin typeface="Arial (Body)"/>
            </a:rPr>
            <a:t>2. </a:t>
          </a:r>
          <a:r>
            <a:rPr lang="en-AU" sz="1200" dirty="0" err="1">
              <a:latin typeface="Arial (Body)"/>
            </a:rPr>
            <a:t>Lựa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chọn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loại</a:t>
          </a:r>
          <a:r>
            <a:rPr lang="en-AU" sz="1200" dirty="0">
              <a:latin typeface="Arial (Body)"/>
            </a:rPr>
            <a:t> test</a:t>
          </a:r>
        </a:p>
        <a:p>
          <a:pPr algn="l"/>
          <a:r>
            <a:rPr lang="en-AU" sz="1200" dirty="0">
              <a:latin typeface="Arial (Body)"/>
            </a:rPr>
            <a:t>3. </a:t>
          </a:r>
          <a:r>
            <a:rPr lang="en-AU" sz="1200" dirty="0" err="1">
              <a:latin typeface="Arial (Body)"/>
            </a:rPr>
            <a:t>Đánh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giá</a:t>
          </a:r>
          <a:r>
            <a:rPr lang="en-AU" sz="1200" dirty="0">
              <a:latin typeface="Arial (Body)"/>
            </a:rPr>
            <a:t> &amp; </a:t>
          </a:r>
          <a:r>
            <a:rPr lang="en-AU" sz="1200" dirty="0" err="1">
              <a:latin typeface="Arial (Body)"/>
            </a:rPr>
            <a:t>lựa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chọn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địa</a:t>
          </a:r>
          <a:r>
            <a:rPr lang="en-AU" sz="1200" dirty="0">
              <a:latin typeface="Arial (Body)"/>
            </a:rPr>
            <a:t> </a:t>
          </a:r>
          <a:r>
            <a:rPr lang="en-AU" sz="1200" dirty="0" err="1">
              <a:latin typeface="Arial (Body)"/>
            </a:rPr>
            <a:t>bàn</a:t>
          </a:r>
          <a:endParaRPr lang="en-AU" sz="1200" dirty="0">
            <a:latin typeface="Arial (Body)"/>
          </a:endParaRPr>
        </a:p>
      </dgm:t>
    </dgm:pt>
    <dgm:pt modelId="{C5AAECF9-5103-4EF1-9860-6EDFBF0BC9A6}" type="parTrans" cxnId="{BDDDF2E1-0847-45EB-9B7E-2D85BAA6BBDD}">
      <dgm:prSet/>
      <dgm:spPr/>
      <dgm:t>
        <a:bodyPr/>
        <a:lstStyle/>
        <a:p>
          <a:endParaRPr lang="en-AU"/>
        </a:p>
      </dgm:t>
    </dgm:pt>
    <dgm:pt modelId="{0F9A3978-0998-4F65-A17D-5B9A808B369F}" type="sibTrans" cxnId="{BDDDF2E1-0847-45EB-9B7E-2D85BAA6BBDD}">
      <dgm:prSet/>
      <dgm:spPr/>
      <dgm:t>
        <a:bodyPr/>
        <a:lstStyle/>
        <a:p>
          <a:endParaRPr lang="en-AU"/>
        </a:p>
      </dgm:t>
    </dgm:pt>
    <dgm:pt modelId="{4D206609-BDFB-4BA8-AB4D-1DA301381A30}" type="pres">
      <dgm:prSet presAssocID="{05D0C839-C97E-42E9-99FC-C2AFE535D9F3}" presName="Name0" presStyleCnt="0">
        <dgm:presLayoutVars>
          <dgm:dir/>
          <dgm:resizeHandles val="exact"/>
        </dgm:presLayoutVars>
      </dgm:prSet>
      <dgm:spPr/>
    </dgm:pt>
    <dgm:pt modelId="{DAFE98E0-8AB7-4AA7-A7A6-13725BDEE7A6}" type="pres">
      <dgm:prSet presAssocID="{05D0C839-C97E-42E9-99FC-C2AFE535D9F3}" presName="arrow" presStyleLbl="bgShp" presStyleIdx="0" presStyleCnt="1"/>
      <dgm:spPr/>
    </dgm:pt>
    <dgm:pt modelId="{D4088A54-5586-4B10-96DF-70D92768091B}" type="pres">
      <dgm:prSet presAssocID="{05D0C839-C97E-42E9-99FC-C2AFE535D9F3}" presName="points" presStyleCnt="0"/>
      <dgm:spPr/>
    </dgm:pt>
    <dgm:pt modelId="{CAC37AEA-EC9B-4B58-8599-5055A024F071}" type="pres">
      <dgm:prSet presAssocID="{77469E6C-18E3-4FA3-B9FB-4C1779BF46F4}" presName="compositeA" presStyleCnt="0"/>
      <dgm:spPr/>
    </dgm:pt>
    <dgm:pt modelId="{22C60D4A-6245-4C5E-9D81-BC2D0A86C00B}" type="pres">
      <dgm:prSet presAssocID="{77469E6C-18E3-4FA3-B9FB-4C1779BF46F4}" presName="textA" presStyleLbl="revTx" presStyleIdx="0" presStyleCnt="8" custScaleX="131748">
        <dgm:presLayoutVars>
          <dgm:bulletEnabled val="1"/>
        </dgm:presLayoutVars>
      </dgm:prSet>
      <dgm:spPr/>
    </dgm:pt>
    <dgm:pt modelId="{2EB54767-BCBB-4301-8BDE-00EBBB483DE3}" type="pres">
      <dgm:prSet presAssocID="{77469E6C-18E3-4FA3-B9FB-4C1779BF46F4}" presName="circleA" presStyleLbl="node1" presStyleIdx="0" presStyleCnt="8"/>
      <dgm:spPr/>
    </dgm:pt>
    <dgm:pt modelId="{6D263379-9FC8-4EB1-8C82-CD267E829F5A}" type="pres">
      <dgm:prSet presAssocID="{77469E6C-18E3-4FA3-B9FB-4C1779BF46F4}" presName="spaceA" presStyleCnt="0"/>
      <dgm:spPr/>
    </dgm:pt>
    <dgm:pt modelId="{16F259DD-165E-48BA-95BC-087E5C77ECD3}" type="pres">
      <dgm:prSet presAssocID="{D8B2EC12-26BB-42F2-A0CA-01CA7D506F0A}" presName="space" presStyleCnt="0"/>
      <dgm:spPr/>
    </dgm:pt>
    <dgm:pt modelId="{7821D370-B930-4662-BC6E-EAAD12961C91}" type="pres">
      <dgm:prSet presAssocID="{BB65CFCB-31DE-4D3E-958B-3E8DC86AB059}" presName="compositeB" presStyleCnt="0"/>
      <dgm:spPr/>
    </dgm:pt>
    <dgm:pt modelId="{54D52641-BCCD-4D5B-8309-7B1F796D72A1}" type="pres">
      <dgm:prSet presAssocID="{BB65CFCB-31DE-4D3E-958B-3E8DC86AB059}" presName="textB" presStyleLbl="revTx" presStyleIdx="1" presStyleCnt="8" custScaleX="171093">
        <dgm:presLayoutVars>
          <dgm:bulletEnabled val="1"/>
        </dgm:presLayoutVars>
      </dgm:prSet>
      <dgm:spPr/>
    </dgm:pt>
    <dgm:pt modelId="{FA7D6623-0DCA-4CE6-923F-9CAF5D827248}" type="pres">
      <dgm:prSet presAssocID="{BB65CFCB-31DE-4D3E-958B-3E8DC86AB059}" presName="circleB" presStyleLbl="node1" presStyleIdx="1" presStyleCnt="8"/>
      <dgm:spPr/>
    </dgm:pt>
    <dgm:pt modelId="{A91F3BC7-B519-4F9B-82E0-0C69AEEDEDB1}" type="pres">
      <dgm:prSet presAssocID="{BB65CFCB-31DE-4D3E-958B-3E8DC86AB059}" presName="spaceB" presStyleCnt="0"/>
      <dgm:spPr/>
    </dgm:pt>
    <dgm:pt modelId="{2BB5F995-A055-41D1-AF78-8DC690D29EB3}" type="pres">
      <dgm:prSet presAssocID="{0F9A3978-0998-4F65-A17D-5B9A808B369F}" presName="space" presStyleCnt="0"/>
      <dgm:spPr/>
    </dgm:pt>
    <dgm:pt modelId="{65D2A7FF-FEAA-4D58-9670-5730A95CA230}" type="pres">
      <dgm:prSet presAssocID="{EFC0C1E3-D788-4AD0-B2A0-3B3EA02B1408}" presName="compositeA" presStyleCnt="0"/>
      <dgm:spPr/>
    </dgm:pt>
    <dgm:pt modelId="{C94F8CDE-4921-41C6-AD41-78D7FE6AC474}" type="pres">
      <dgm:prSet presAssocID="{EFC0C1E3-D788-4AD0-B2A0-3B3EA02B1408}" presName="textA" presStyleLbl="revTx" presStyleIdx="2" presStyleCnt="8" custScaleX="227134">
        <dgm:presLayoutVars>
          <dgm:bulletEnabled val="1"/>
        </dgm:presLayoutVars>
      </dgm:prSet>
      <dgm:spPr/>
    </dgm:pt>
    <dgm:pt modelId="{6E0AF621-1DCD-46C7-B0B0-89B4506AA27D}" type="pres">
      <dgm:prSet presAssocID="{EFC0C1E3-D788-4AD0-B2A0-3B3EA02B1408}" presName="circleA" presStyleLbl="node1" presStyleIdx="2" presStyleCnt="8"/>
      <dgm:spPr/>
    </dgm:pt>
    <dgm:pt modelId="{DEA262DA-843B-421A-A14E-735E76726582}" type="pres">
      <dgm:prSet presAssocID="{EFC0C1E3-D788-4AD0-B2A0-3B3EA02B1408}" presName="spaceA" presStyleCnt="0"/>
      <dgm:spPr/>
    </dgm:pt>
    <dgm:pt modelId="{7D9DFB97-512D-482C-974E-28BC39CF5EA9}" type="pres">
      <dgm:prSet presAssocID="{AA4EB6E8-A5D7-433D-AF28-69C52C48C056}" presName="space" presStyleCnt="0"/>
      <dgm:spPr/>
    </dgm:pt>
    <dgm:pt modelId="{233709E1-AA73-4230-BA6F-D853E8DD85DC}" type="pres">
      <dgm:prSet presAssocID="{7770AA47-A398-4844-96BE-F44ED506B002}" presName="compositeB" presStyleCnt="0"/>
      <dgm:spPr/>
    </dgm:pt>
    <dgm:pt modelId="{F8D1B783-ECB8-47D0-8198-701A88D02453}" type="pres">
      <dgm:prSet presAssocID="{7770AA47-A398-4844-96BE-F44ED506B002}" presName="textB" presStyleLbl="revTx" presStyleIdx="3" presStyleCnt="8" custScaleX="213424">
        <dgm:presLayoutVars>
          <dgm:bulletEnabled val="1"/>
        </dgm:presLayoutVars>
      </dgm:prSet>
      <dgm:spPr/>
    </dgm:pt>
    <dgm:pt modelId="{4DEC5811-EBB0-4140-9899-AA920D9CA2DE}" type="pres">
      <dgm:prSet presAssocID="{7770AA47-A398-4844-96BE-F44ED506B002}" presName="circleB" presStyleLbl="node1" presStyleIdx="3" presStyleCnt="8"/>
      <dgm:spPr/>
    </dgm:pt>
    <dgm:pt modelId="{7AC2F411-2696-40C8-AE24-0EE1184E1F5A}" type="pres">
      <dgm:prSet presAssocID="{7770AA47-A398-4844-96BE-F44ED506B002}" presName="spaceB" presStyleCnt="0"/>
      <dgm:spPr/>
    </dgm:pt>
    <dgm:pt modelId="{86537246-E63A-4550-B4E2-3F4D017C5182}" type="pres">
      <dgm:prSet presAssocID="{AC2F58FA-04C5-442A-BFBE-7019904659B5}" presName="space" presStyleCnt="0"/>
      <dgm:spPr/>
    </dgm:pt>
    <dgm:pt modelId="{7AE92AEB-6BD7-4460-BAE3-203579127E99}" type="pres">
      <dgm:prSet presAssocID="{C807D335-CEC4-4F11-B71E-46E9A83A9EBE}" presName="compositeA" presStyleCnt="0"/>
      <dgm:spPr/>
    </dgm:pt>
    <dgm:pt modelId="{87CC940A-D142-4D26-A4F8-AA861BB56E26}" type="pres">
      <dgm:prSet presAssocID="{C807D335-CEC4-4F11-B71E-46E9A83A9EBE}" presName="textA" presStyleLbl="revTx" presStyleIdx="4" presStyleCnt="8" custScaleX="177787">
        <dgm:presLayoutVars>
          <dgm:bulletEnabled val="1"/>
        </dgm:presLayoutVars>
      </dgm:prSet>
      <dgm:spPr/>
    </dgm:pt>
    <dgm:pt modelId="{D412F042-497E-4DAD-8B38-AD610DEF90EC}" type="pres">
      <dgm:prSet presAssocID="{C807D335-CEC4-4F11-B71E-46E9A83A9EBE}" presName="circleA" presStyleLbl="node1" presStyleIdx="4" presStyleCnt="8"/>
      <dgm:spPr/>
    </dgm:pt>
    <dgm:pt modelId="{D51D07E1-5176-45AB-A330-7E56E338E2CC}" type="pres">
      <dgm:prSet presAssocID="{C807D335-CEC4-4F11-B71E-46E9A83A9EBE}" presName="spaceA" presStyleCnt="0"/>
      <dgm:spPr/>
    </dgm:pt>
    <dgm:pt modelId="{893B1F9A-9645-4713-8F99-92CC5F8F7558}" type="pres">
      <dgm:prSet presAssocID="{1F513CD6-F4A8-4EEE-8F0B-D8A967F18D9A}" presName="space" presStyleCnt="0"/>
      <dgm:spPr/>
    </dgm:pt>
    <dgm:pt modelId="{A92D6CE7-4945-4B4F-B4FD-C2904C9B8DDF}" type="pres">
      <dgm:prSet presAssocID="{1F584BA7-3F7D-4C10-A726-8820BE50FBFB}" presName="compositeB" presStyleCnt="0"/>
      <dgm:spPr/>
    </dgm:pt>
    <dgm:pt modelId="{B053F105-8B6C-4EB4-8E17-2FC6D7A1A2D4}" type="pres">
      <dgm:prSet presAssocID="{1F584BA7-3F7D-4C10-A726-8820BE50FBFB}" presName="textB" presStyleLbl="revTx" presStyleIdx="5" presStyleCnt="8" custScaleX="215847">
        <dgm:presLayoutVars>
          <dgm:bulletEnabled val="1"/>
        </dgm:presLayoutVars>
      </dgm:prSet>
      <dgm:spPr/>
    </dgm:pt>
    <dgm:pt modelId="{BA3CE360-DB9E-4D60-9A86-8F966B00734D}" type="pres">
      <dgm:prSet presAssocID="{1F584BA7-3F7D-4C10-A726-8820BE50FBFB}" presName="circleB" presStyleLbl="node1" presStyleIdx="5" presStyleCnt="8"/>
      <dgm:spPr/>
    </dgm:pt>
    <dgm:pt modelId="{C993920B-CD11-4D0B-BB98-313F6B45DF2D}" type="pres">
      <dgm:prSet presAssocID="{1F584BA7-3F7D-4C10-A726-8820BE50FBFB}" presName="spaceB" presStyleCnt="0"/>
      <dgm:spPr/>
    </dgm:pt>
    <dgm:pt modelId="{E6FE99DA-889B-4739-B71D-4A7014BAF9AF}" type="pres">
      <dgm:prSet presAssocID="{84211476-6E1A-451F-8F1F-2767B8B256DC}" presName="space" presStyleCnt="0"/>
      <dgm:spPr/>
    </dgm:pt>
    <dgm:pt modelId="{74439E4B-0555-49EE-A286-97877895D781}" type="pres">
      <dgm:prSet presAssocID="{9D57D90E-3363-432D-B34E-1B34CBBAE975}" presName="compositeA" presStyleCnt="0"/>
      <dgm:spPr/>
    </dgm:pt>
    <dgm:pt modelId="{3B287A1A-5315-4472-9AF9-E8F0B8C57B15}" type="pres">
      <dgm:prSet presAssocID="{9D57D90E-3363-432D-B34E-1B34CBBAE975}" presName="textA" presStyleLbl="revTx" presStyleIdx="6" presStyleCnt="8" custScaleX="164570">
        <dgm:presLayoutVars>
          <dgm:bulletEnabled val="1"/>
        </dgm:presLayoutVars>
      </dgm:prSet>
      <dgm:spPr/>
    </dgm:pt>
    <dgm:pt modelId="{B55C20D3-7002-4490-BD16-EB245EEC692D}" type="pres">
      <dgm:prSet presAssocID="{9D57D90E-3363-432D-B34E-1B34CBBAE975}" presName="circleA" presStyleLbl="node1" presStyleIdx="6" presStyleCnt="8"/>
      <dgm:spPr/>
    </dgm:pt>
    <dgm:pt modelId="{43A1F6C7-BB22-4DB8-BB23-801ABBF6A186}" type="pres">
      <dgm:prSet presAssocID="{9D57D90E-3363-432D-B34E-1B34CBBAE975}" presName="spaceA" presStyleCnt="0"/>
      <dgm:spPr/>
    </dgm:pt>
    <dgm:pt modelId="{993A4030-16E0-48C5-961C-6D276C600125}" type="pres">
      <dgm:prSet presAssocID="{D3E9727A-0D7E-4CC8-8DCA-CB557AC54965}" presName="space" presStyleCnt="0"/>
      <dgm:spPr/>
    </dgm:pt>
    <dgm:pt modelId="{E3948F0E-9E61-4F67-B1EA-795A6A0D4776}" type="pres">
      <dgm:prSet presAssocID="{F0354980-2912-4810-AB6F-837845E96217}" presName="compositeB" presStyleCnt="0"/>
      <dgm:spPr/>
    </dgm:pt>
    <dgm:pt modelId="{1EA76D2E-F765-4228-A6B0-9F446283DBF9}" type="pres">
      <dgm:prSet presAssocID="{F0354980-2912-4810-AB6F-837845E96217}" presName="textB" presStyleLbl="revTx" presStyleIdx="7" presStyleCnt="8">
        <dgm:presLayoutVars>
          <dgm:bulletEnabled val="1"/>
        </dgm:presLayoutVars>
      </dgm:prSet>
      <dgm:spPr/>
    </dgm:pt>
    <dgm:pt modelId="{2A8FDB9A-8860-43E2-8F7F-38455E492EF7}" type="pres">
      <dgm:prSet presAssocID="{F0354980-2912-4810-AB6F-837845E96217}" presName="circleB" presStyleLbl="node1" presStyleIdx="7" presStyleCnt="8"/>
      <dgm:spPr/>
    </dgm:pt>
    <dgm:pt modelId="{F55E8D01-135B-4273-9D04-40ECCD0E60C2}" type="pres">
      <dgm:prSet presAssocID="{F0354980-2912-4810-AB6F-837845E96217}" presName="spaceB" presStyleCnt="0"/>
      <dgm:spPr/>
    </dgm:pt>
  </dgm:ptLst>
  <dgm:cxnLst>
    <dgm:cxn modelId="{3515532A-1824-4CC7-856B-40064BC30401}" srcId="{05D0C839-C97E-42E9-99FC-C2AFE535D9F3}" destId="{7770AA47-A398-4844-96BE-F44ED506B002}" srcOrd="3" destOrd="0" parTransId="{81F30497-2A68-4C6A-9A70-B67B84682B10}" sibTransId="{AC2F58FA-04C5-442A-BFBE-7019904659B5}"/>
    <dgm:cxn modelId="{F6879767-6F91-42A3-998C-6B6FAFE50673}" srcId="{05D0C839-C97E-42E9-99FC-C2AFE535D9F3}" destId="{77469E6C-18E3-4FA3-B9FB-4C1779BF46F4}" srcOrd="0" destOrd="0" parTransId="{8EEA72DD-655D-4125-852A-641C45205434}" sibTransId="{D8B2EC12-26BB-42F2-A0CA-01CA7D506F0A}"/>
    <dgm:cxn modelId="{C914C847-F48D-411B-8908-335AF5EDF47C}" srcId="{05D0C839-C97E-42E9-99FC-C2AFE535D9F3}" destId="{C807D335-CEC4-4F11-B71E-46E9A83A9EBE}" srcOrd="4" destOrd="0" parTransId="{E9AF990E-97E2-452B-87AE-84A93C5B9B77}" sibTransId="{1F513CD6-F4A8-4EEE-8F0B-D8A967F18D9A}"/>
    <dgm:cxn modelId="{2426DA50-2F90-4850-9730-50D57D72072D}" type="presOf" srcId="{1F584BA7-3F7D-4C10-A726-8820BE50FBFB}" destId="{B053F105-8B6C-4EB4-8E17-2FC6D7A1A2D4}" srcOrd="0" destOrd="0" presId="urn:microsoft.com/office/officeart/2005/8/layout/hProcess11"/>
    <dgm:cxn modelId="{1B4DFD52-7A75-4D76-B878-7922E2DC0C49}" srcId="{05D0C839-C97E-42E9-99FC-C2AFE535D9F3}" destId="{9D57D90E-3363-432D-B34E-1B34CBBAE975}" srcOrd="6" destOrd="0" parTransId="{422F5DA0-13A8-4467-8205-403A86832854}" sibTransId="{D3E9727A-0D7E-4CC8-8DCA-CB557AC54965}"/>
    <dgm:cxn modelId="{5007B95A-CD8D-450F-B5C1-2D3EFBD6EC3D}" type="presOf" srcId="{7770AA47-A398-4844-96BE-F44ED506B002}" destId="{F8D1B783-ECB8-47D0-8198-701A88D02453}" srcOrd="0" destOrd="0" presId="urn:microsoft.com/office/officeart/2005/8/layout/hProcess11"/>
    <dgm:cxn modelId="{9377C78B-30E4-4A47-9D7E-65570D4205E2}" srcId="{05D0C839-C97E-42E9-99FC-C2AFE535D9F3}" destId="{EFC0C1E3-D788-4AD0-B2A0-3B3EA02B1408}" srcOrd="2" destOrd="0" parTransId="{C3671568-E235-43AE-AE8C-E644E3178C92}" sibTransId="{AA4EB6E8-A5D7-433D-AF28-69C52C48C056}"/>
    <dgm:cxn modelId="{4D952A97-5F35-4213-84A0-136800D3EA99}" type="presOf" srcId="{05D0C839-C97E-42E9-99FC-C2AFE535D9F3}" destId="{4D206609-BDFB-4BA8-AB4D-1DA301381A30}" srcOrd="0" destOrd="0" presId="urn:microsoft.com/office/officeart/2005/8/layout/hProcess11"/>
    <dgm:cxn modelId="{4806FD9C-7E8A-4EE0-AE97-8EFB54020720}" type="presOf" srcId="{77469E6C-18E3-4FA3-B9FB-4C1779BF46F4}" destId="{22C60D4A-6245-4C5E-9D81-BC2D0A86C00B}" srcOrd="0" destOrd="0" presId="urn:microsoft.com/office/officeart/2005/8/layout/hProcess11"/>
    <dgm:cxn modelId="{F9409FAC-7D42-4AB9-A558-C757C41BA638}" srcId="{05D0C839-C97E-42E9-99FC-C2AFE535D9F3}" destId="{F0354980-2912-4810-AB6F-837845E96217}" srcOrd="7" destOrd="0" parTransId="{D17F49C8-7E40-4782-A9EE-87134FA7E6E0}" sibTransId="{0FB9433C-5F67-4FB2-A3FD-288056FFB28B}"/>
    <dgm:cxn modelId="{7BF200BE-A01C-49AB-A139-F0FE0FB0AAFB}" type="presOf" srcId="{9D57D90E-3363-432D-B34E-1B34CBBAE975}" destId="{3B287A1A-5315-4472-9AF9-E8F0B8C57B15}" srcOrd="0" destOrd="0" presId="urn:microsoft.com/office/officeart/2005/8/layout/hProcess11"/>
    <dgm:cxn modelId="{AABB17D3-059F-4CB9-8AAC-136F369C8D5F}" type="presOf" srcId="{EFC0C1E3-D788-4AD0-B2A0-3B3EA02B1408}" destId="{C94F8CDE-4921-41C6-AD41-78D7FE6AC474}" srcOrd="0" destOrd="0" presId="urn:microsoft.com/office/officeart/2005/8/layout/hProcess11"/>
    <dgm:cxn modelId="{BDDDF2E1-0847-45EB-9B7E-2D85BAA6BBDD}" srcId="{05D0C839-C97E-42E9-99FC-C2AFE535D9F3}" destId="{BB65CFCB-31DE-4D3E-958B-3E8DC86AB059}" srcOrd="1" destOrd="0" parTransId="{C5AAECF9-5103-4EF1-9860-6EDFBF0BC9A6}" sibTransId="{0F9A3978-0998-4F65-A17D-5B9A808B369F}"/>
    <dgm:cxn modelId="{1FBFD7E5-EFD9-4D36-9CDF-977A930CD05F}" srcId="{05D0C839-C97E-42E9-99FC-C2AFE535D9F3}" destId="{1F584BA7-3F7D-4C10-A726-8820BE50FBFB}" srcOrd="5" destOrd="0" parTransId="{E1C8CC56-133B-42B1-9E0E-7514D2411038}" sibTransId="{84211476-6E1A-451F-8F1F-2767B8B256DC}"/>
    <dgm:cxn modelId="{FAACF2E5-DEEA-497A-A430-013DCF16C15C}" type="presOf" srcId="{C807D335-CEC4-4F11-B71E-46E9A83A9EBE}" destId="{87CC940A-D142-4D26-A4F8-AA861BB56E26}" srcOrd="0" destOrd="0" presId="urn:microsoft.com/office/officeart/2005/8/layout/hProcess11"/>
    <dgm:cxn modelId="{79A0F3F3-20BE-4CD7-BDAC-84850F57F03C}" type="presOf" srcId="{BB65CFCB-31DE-4D3E-958B-3E8DC86AB059}" destId="{54D52641-BCCD-4D5B-8309-7B1F796D72A1}" srcOrd="0" destOrd="0" presId="urn:microsoft.com/office/officeart/2005/8/layout/hProcess11"/>
    <dgm:cxn modelId="{0D6AA1FA-0AB0-4EE3-B41F-4E23C34417A3}" type="presOf" srcId="{F0354980-2912-4810-AB6F-837845E96217}" destId="{1EA76D2E-F765-4228-A6B0-9F446283DBF9}" srcOrd="0" destOrd="0" presId="urn:microsoft.com/office/officeart/2005/8/layout/hProcess11"/>
    <dgm:cxn modelId="{E851A088-3FF9-4997-BCCB-7A509F0469D8}" type="presParOf" srcId="{4D206609-BDFB-4BA8-AB4D-1DA301381A30}" destId="{DAFE98E0-8AB7-4AA7-A7A6-13725BDEE7A6}" srcOrd="0" destOrd="0" presId="urn:microsoft.com/office/officeart/2005/8/layout/hProcess11"/>
    <dgm:cxn modelId="{9187F841-603A-4C2B-9D32-325FB1B21C1B}" type="presParOf" srcId="{4D206609-BDFB-4BA8-AB4D-1DA301381A30}" destId="{D4088A54-5586-4B10-96DF-70D92768091B}" srcOrd="1" destOrd="0" presId="urn:microsoft.com/office/officeart/2005/8/layout/hProcess11"/>
    <dgm:cxn modelId="{B831E8C8-19CD-4FF1-96D6-915DA793021D}" type="presParOf" srcId="{D4088A54-5586-4B10-96DF-70D92768091B}" destId="{CAC37AEA-EC9B-4B58-8599-5055A024F071}" srcOrd="0" destOrd="0" presId="urn:microsoft.com/office/officeart/2005/8/layout/hProcess11"/>
    <dgm:cxn modelId="{D9296986-5EC5-4CE9-B504-98A3E22DE454}" type="presParOf" srcId="{CAC37AEA-EC9B-4B58-8599-5055A024F071}" destId="{22C60D4A-6245-4C5E-9D81-BC2D0A86C00B}" srcOrd="0" destOrd="0" presId="urn:microsoft.com/office/officeart/2005/8/layout/hProcess11"/>
    <dgm:cxn modelId="{09D7643D-75DF-4ED1-A583-4DE634763D9F}" type="presParOf" srcId="{CAC37AEA-EC9B-4B58-8599-5055A024F071}" destId="{2EB54767-BCBB-4301-8BDE-00EBBB483DE3}" srcOrd="1" destOrd="0" presId="urn:microsoft.com/office/officeart/2005/8/layout/hProcess11"/>
    <dgm:cxn modelId="{2A4BA9EF-3FE3-4E0B-B16C-FC83C79767D0}" type="presParOf" srcId="{CAC37AEA-EC9B-4B58-8599-5055A024F071}" destId="{6D263379-9FC8-4EB1-8C82-CD267E829F5A}" srcOrd="2" destOrd="0" presId="urn:microsoft.com/office/officeart/2005/8/layout/hProcess11"/>
    <dgm:cxn modelId="{7B489140-F134-4860-B351-47FBF86DF77E}" type="presParOf" srcId="{D4088A54-5586-4B10-96DF-70D92768091B}" destId="{16F259DD-165E-48BA-95BC-087E5C77ECD3}" srcOrd="1" destOrd="0" presId="urn:microsoft.com/office/officeart/2005/8/layout/hProcess11"/>
    <dgm:cxn modelId="{D2AC581B-5F78-4736-A4A6-2A5BB27EC495}" type="presParOf" srcId="{D4088A54-5586-4B10-96DF-70D92768091B}" destId="{7821D370-B930-4662-BC6E-EAAD12961C91}" srcOrd="2" destOrd="0" presId="urn:microsoft.com/office/officeart/2005/8/layout/hProcess11"/>
    <dgm:cxn modelId="{37D00757-9792-4157-8A59-8D3ED769B8E3}" type="presParOf" srcId="{7821D370-B930-4662-BC6E-EAAD12961C91}" destId="{54D52641-BCCD-4D5B-8309-7B1F796D72A1}" srcOrd="0" destOrd="0" presId="urn:microsoft.com/office/officeart/2005/8/layout/hProcess11"/>
    <dgm:cxn modelId="{FBED3C18-1567-4827-B3DE-608F55E070CC}" type="presParOf" srcId="{7821D370-B930-4662-BC6E-EAAD12961C91}" destId="{FA7D6623-0DCA-4CE6-923F-9CAF5D827248}" srcOrd="1" destOrd="0" presId="urn:microsoft.com/office/officeart/2005/8/layout/hProcess11"/>
    <dgm:cxn modelId="{273B6CE4-19BB-496C-9CB1-BE06DCCE50BE}" type="presParOf" srcId="{7821D370-B930-4662-BC6E-EAAD12961C91}" destId="{A91F3BC7-B519-4F9B-82E0-0C69AEEDEDB1}" srcOrd="2" destOrd="0" presId="urn:microsoft.com/office/officeart/2005/8/layout/hProcess11"/>
    <dgm:cxn modelId="{99C73974-5776-4624-A4D9-54F4E35E1AF9}" type="presParOf" srcId="{D4088A54-5586-4B10-96DF-70D92768091B}" destId="{2BB5F995-A055-41D1-AF78-8DC690D29EB3}" srcOrd="3" destOrd="0" presId="urn:microsoft.com/office/officeart/2005/8/layout/hProcess11"/>
    <dgm:cxn modelId="{C09BFF32-6DAB-40A4-BA0F-3D7F1906642F}" type="presParOf" srcId="{D4088A54-5586-4B10-96DF-70D92768091B}" destId="{65D2A7FF-FEAA-4D58-9670-5730A95CA230}" srcOrd="4" destOrd="0" presId="urn:microsoft.com/office/officeart/2005/8/layout/hProcess11"/>
    <dgm:cxn modelId="{BF0C0A25-29D9-499D-A5A6-5E767CF7BE7A}" type="presParOf" srcId="{65D2A7FF-FEAA-4D58-9670-5730A95CA230}" destId="{C94F8CDE-4921-41C6-AD41-78D7FE6AC474}" srcOrd="0" destOrd="0" presId="urn:microsoft.com/office/officeart/2005/8/layout/hProcess11"/>
    <dgm:cxn modelId="{843D0BBD-9A8D-4229-94A5-C3041E802AF3}" type="presParOf" srcId="{65D2A7FF-FEAA-4D58-9670-5730A95CA230}" destId="{6E0AF621-1DCD-46C7-B0B0-89B4506AA27D}" srcOrd="1" destOrd="0" presId="urn:microsoft.com/office/officeart/2005/8/layout/hProcess11"/>
    <dgm:cxn modelId="{CEFFF1E3-2E6F-429B-ABA2-8AD02677D6BD}" type="presParOf" srcId="{65D2A7FF-FEAA-4D58-9670-5730A95CA230}" destId="{DEA262DA-843B-421A-A14E-735E76726582}" srcOrd="2" destOrd="0" presId="urn:microsoft.com/office/officeart/2005/8/layout/hProcess11"/>
    <dgm:cxn modelId="{A25EFC89-3AE9-4C84-B9AC-CE14D6329A74}" type="presParOf" srcId="{D4088A54-5586-4B10-96DF-70D92768091B}" destId="{7D9DFB97-512D-482C-974E-28BC39CF5EA9}" srcOrd="5" destOrd="0" presId="urn:microsoft.com/office/officeart/2005/8/layout/hProcess11"/>
    <dgm:cxn modelId="{E408B260-6480-4E18-9BDB-66F7AE20E042}" type="presParOf" srcId="{D4088A54-5586-4B10-96DF-70D92768091B}" destId="{233709E1-AA73-4230-BA6F-D853E8DD85DC}" srcOrd="6" destOrd="0" presId="urn:microsoft.com/office/officeart/2005/8/layout/hProcess11"/>
    <dgm:cxn modelId="{3C849558-1C45-41A8-90D9-3898978433ED}" type="presParOf" srcId="{233709E1-AA73-4230-BA6F-D853E8DD85DC}" destId="{F8D1B783-ECB8-47D0-8198-701A88D02453}" srcOrd="0" destOrd="0" presId="urn:microsoft.com/office/officeart/2005/8/layout/hProcess11"/>
    <dgm:cxn modelId="{08CDC7B3-3CC5-486C-B9A0-6894F26A98A9}" type="presParOf" srcId="{233709E1-AA73-4230-BA6F-D853E8DD85DC}" destId="{4DEC5811-EBB0-4140-9899-AA920D9CA2DE}" srcOrd="1" destOrd="0" presId="urn:microsoft.com/office/officeart/2005/8/layout/hProcess11"/>
    <dgm:cxn modelId="{C72572D1-21F5-4C71-8EB4-DCA231750587}" type="presParOf" srcId="{233709E1-AA73-4230-BA6F-D853E8DD85DC}" destId="{7AC2F411-2696-40C8-AE24-0EE1184E1F5A}" srcOrd="2" destOrd="0" presId="urn:microsoft.com/office/officeart/2005/8/layout/hProcess11"/>
    <dgm:cxn modelId="{6B3ADE5C-B7D9-4D2B-9C0C-C5D772039A36}" type="presParOf" srcId="{D4088A54-5586-4B10-96DF-70D92768091B}" destId="{86537246-E63A-4550-B4E2-3F4D017C5182}" srcOrd="7" destOrd="0" presId="urn:microsoft.com/office/officeart/2005/8/layout/hProcess11"/>
    <dgm:cxn modelId="{D134F959-19CF-45D9-9469-0D939F95EEBF}" type="presParOf" srcId="{D4088A54-5586-4B10-96DF-70D92768091B}" destId="{7AE92AEB-6BD7-4460-BAE3-203579127E99}" srcOrd="8" destOrd="0" presId="urn:microsoft.com/office/officeart/2005/8/layout/hProcess11"/>
    <dgm:cxn modelId="{C470A00F-AE41-4B00-AC5D-8C9FB48DEE43}" type="presParOf" srcId="{7AE92AEB-6BD7-4460-BAE3-203579127E99}" destId="{87CC940A-D142-4D26-A4F8-AA861BB56E26}" srcOrd="0" destOrd="0" presId="urn:microsoft.com/office/officeart/2005/8/layout/hProcess11"/>
    <dgm:cxn modelId="{8FE41D92-68F8-4C7F-A81E-BFA728D47F8B}" type="presParOf" srcId="{7AE92AEB-6BD7-4460-BAE3-203579127E99}" destId="{D412F042-497E-4DAD-8B38-AD610DEF90EC}" srcOrd="1" destOrd="0" presId="urn:microsoft.com/office/officeart/2005/8/layout/hProcess11"/>
    <dgm:cxn modelId="{66DA1758-557F-4967-83A8-13414AE02007}" type="presParOf" srcId="{7AE92AEB-6BD7-4460-BAE3-203579127E99}" destId="{D51D07E1-5176-45AB-A330-7E56E338E2CC}" srcOrd="2" destOrd="0" presId="urn:microsoft.com/office/officeart/2005/8/layout/hProcess11"/>
    <dgm:cxn modelId="{41C607ED-1F19-42D2-BA68-FE739AB6EE9F}" type="presParOf" srcId="{D4088A54-5586-4B10-96DF-70D92768091B}" destId="{893B1F9A-9645-4713-8F99-92CC5F8F7558}" srcOrd="9" destOrd="0" presId="urn:microsoft.com/office/officeart/2005/8/layout/hProcess11"/>
    <dgm:cxn modelId="{5F2EDFA9-21F7-428A-9D29-C9670C01A91E}" type="presParOf" srcId="{D4088A54-5586-4B10-96DF-70D92768091B}" destId="{A92D6CE7-4945-4B4F-B4FD-C2904C9B8DDF}" srcOrd="10" destOrd="0" presId="urn:microsoft.com/office/officeart/2005/8/layout/hProcess11"/>
    <dgm:cxn modelId="{B8B703C8-C711-4E6C-A6C9-5D4985DD29D8}" type="presParOf" srcId="{A92D6CE7-4945-4B4F-B4FD-C2904C9B8DDF}" destId="{B053F105-8B6C-4EB4-8E17-2FC6D7A1A2D4}" srcOrd="0" destOrd="0" presId="urn:microsoft.com/office/officeart/2005/8/layout/hProcess11"/>
    <dgm:cxn modelId="{0A7C99E0-A585-487D-BF9F-791CE3334107}" type="presParOf" srcId="{A92D6CE7-4945-4B4F-B4FD-C2904C9B8DDF}" destId="{BA3CE360-DB9E-4D60-9A86-8F966B00734D}" srcOrd="1" destOrd="0" presId="urn:microsoft.com/office/officeart/2005/8/layout/hProcess11"/>
    <dgm:cxn modelId="{5FD95632-2667-4BD1-8943-EF00B85C54EE}" type="presParOf" srcId="{A92D6CE7-4945-4B4F-B4FD-C2904C9B8DDF}" destId="{C993920B-CD11-4D0B-BB98-313F6B45DF2D}" srcOrd="2" destOrd="0" presId="urn:microsoft.com/office/officeart/2005/8/layout/hProcess11"/>
    <dgm:cxn modelId="{4FAA237B-70B9-4CB8-BB3C-059D5510FE35}" type="presParOf" srcId="{D4088A54-5586-4B10-96DF-70D92768091B}" destId="{E6FE99DA-889B-4739-B71D-4A7014BAF9AF}" srcOrd="11" destOrd="0" presId="urn:microsoft.com/office/officeart/2005/8/layout/hProcess11"/>
    <dgm:cxn modelId="{54F916DD-3FAC-497C-AAD4-907E147E8CBB}" type="presParOf" srcId="{D4088A54-5586-4B10-96DF-70D92768091B}" destId="{74439E4B-0555-49EE-A286-97877895D781}" srcOrd="12" destOrd="0" presId="urn:microsoft.com/office/officeart/2005/8/layout/hProcess11"/>
    <dgm:cxn modelId="{70C73D1D-8E51-4E42-8E39-513C5648A4F0}" type="presParOf" srcId="{74439E4B-0555-49EE-A286-97877895D781}" destId="{3B287A1A-5315-4472-9AF9-E8F0B8C57B15}" srcOrd="0" destOrd="0" presId="urn:microsoft.com/office/officeart/2005/8/layout/hProcess11"/>
    <dgm:cxn modelId="{D57EC46A-B594-4851-811D-6A7586F7F206}" type="presParOf" srcId="{74439E4B-0555-49EE-A286-97877895D781}" destId="{B55C20D3-7002-4490-BD16-EB245EEC692D}" srcOrd="1" destOrd="0" presId="urn:microsoft.com/office/officeart/2005/8/layout/hProcess11"/>
    <dgm:cxn modelId="{422EB71E-5F00-4F87-83C2-A2B493CCACB5}" type="presParOf" srcId="{74439E4B-0555-49EE-A286-97877895D781}" destId="{43A1F6C7-BB22-4DB8-BB23-801ABBF6A186}" srcOrd="2" destOrd="0" presId="urn:microsoft.com/office/officeart/2005/8/layout/hProcess11"/>
    <dgm:cxn modelId="{2D420F62-1E6A-41B6-A098-F4FD8215C59C}" type="presParOf" srcId="{D4088A54-5586-4B10-96DF-70D92768091B}" destId="{993A4030-16E0-48C5-961C-6D276C600125}" srcOrd="13" destOrd="0" presId="urn:microsoft.com/office/officeart/2005/8/layout/hProcess11"/>
    <dgm:cxn modelId="{60E5CC77-10E0-45DF-945D-363157392450}" type="presParOf" srcId="{D4088A54-5586-4B10-96DF-70D92768091B}" destId="{E3948F0E-9E61-4F67-B1EA-795A6A0D4776}" srcOrd="14" destOrd="0" presId="urn:microsoft.com/office/officeart/2005/8/layout/hProcess11"/>
    <dgm:cxn modelId="{AA96CCFD-0456-4A34-A9D2-11200201A9A1}" type="presParOf" srcId="{E3948F0E-9E61-4F67-B1EA-795A6A0D4776}" destId="{1EA76D2E-F765-4228-A6B0-9F446283DBF9}" srcOrd="0" destOrd="0" presId="urn:microsoft.com/office/officeart/2005/8/layout/hProcess11"/>
    <dgm:cxn modelId="{8D89560F-017C-4931-84E2-26DAB275F2D2}" type="presParOf" srcId="{E3948F0E-9E61-4F67-B1EA-795A6A0D4776}" destId="{2A8FDB9A-8860-43E2-8F7F-38455E492EF7}" srcOrd="1" destOrd="0" presId="urn:microsoft.com/office/officeart/2005/8/layout/hProcess11"/>
    <dgm:cxn modelId="{E969BDF9-623E-493C-9219-5FF1CC201D21}" type="presParOf" srcId="{E3948F0E-9E61-4F67-B1EA-795A6A0D4776}" destId="{F55E8D01-135B-4273-9D04-40ECCD0E60C2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4C85BCE-7F4B-4767-A2A3-F197BF7A1FE6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D0F1E1E3-B395-482A-AE19-876085928030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AU" sz="1600" dirty="0" err="1"/>
            <a:t>Người</a:t>
          </a:r>
          <a:r>
            <a:rPr lang="en-AU" sz="1600" dirty="0"/>
            <a:t> </a:t>
          </a:r>
          <a:r>
            <a:rPr lang="en-AU" sz="1600" dirty="0" err="1"/>
            <a:t>có</a:t>
          </a:r>
          <a:r>
            <a:rPr lang="en-AU" sz="1600" dirty="0"/>
            <a:t> </a:t>
          </a:r>
          <a:r>
            <a:rPr lang="en-AU" sz="1600" dirty="0" err="1"/>
            <a:t>triệu</a:t>
          </a:r>
          <a:r>
            <a:rPr lang="en-AU" sz="1600" dirty="0"/>
            <a:t> </a:t>
          </a:r>
          <a:r>
            <a:rPr lang="en-AU" sz="1600" dirty="0" err="1"/>
            <a:t>chứng</a:t>
          </a:r>
          <a:r>
            <a:rPr lang="en-AU" sz="1600" dirty="0"/>
            <a:t> </a:t>
          </a:r>
          <a:r>
            <a:rPr lang="en-AU" sz="1600" dirty="0" err="1"/>
            <a:t>đường</a:t>
          </a:r>
          <a:r>
            <a:rPr lang="en-AU" sz="1600" dirty="0"/>
            <a:t> </a:t>
          </a:r>
          <a:r>
            <a:rPr lang="en-AU" sz="1600" dirty="0" err="1"/>
            <a:t>hô</a:t>
          </a:r>
          <a:r>
            <a:rPr lang="en-AU" sz="1600" dirty="0"/>
            <a:t> </a:t>
          </a:r>
          <a:r>
            <a:rPr lang="en-AU" sz="1600" dirty="0" err="1"/>
            <a:t>hấp</a:t>
          </a:r>
          <a:endParaRPr lang="en-AU" sz="1600" dirty="0"/>
        </a:p>
      </dgm:t>
    </dgm:pt>
    <dgm:pt modelId="{24A29B9C-3355-4E3E-9BFE-5B715B3BC7F1}" type="parTrans" cxnId="{7C8FB5E7-3A99-49DB-99C2-DC33C01B7C99}">
      <dgm:prSet/>
      <dgm:spPr/>
      <dgm:t>
        <a:bodyPr/>
        <a:lstStyle/>
        <a:p>
          <a:endParaRPr lang="en-AU"/>
        </a:p>
      </dgm:t>
    </dgm:pt>
    <dgm:pt modelId="{CCC5F612-9CA9-433D-B29E-AEC288EE5561}" type="sibTrans" cxnId="{7C8FB5E7-3A99-49DB-99C2-DC33C01B7C99}">
      <dgm:prSet/>
      <dgm:spPr/>
      <dgm:t>
        <a:bodyPr/>
        <a:lstStyle/>
        <a:p>
          <a:endParaRPr lang="en-AU"/>
        </a:p>
      </dgm:t>
    </dgm:pt>
    <dgm:pt modelId="{845867CC-66F2-4BA1-9D27-AB5C05FE034B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AU" sz="1600" dirty="0" err="1"/>
            <a:t>Không</a:t>
          </a:r>
          <a:r>
            <a:rPr lang="en-AU" sz="1600" dirty="0"/>
            <a:t> </a:t>
          </a:r>
          <a:r>
            <a:rPr lang="en-AU" sz="1600" dirty="0" err="1"/>
            <a:t>có</a:t>
          </a:r>
          <a:r>
            <a:rPr lang="en-AU" sz="1600" dirty="0"/>
            <a:t> </a:t>
          </a:r>
          <a:r>
            <a:rPr lang="en-AU" sz="1600" dirty="0" err="1"/>
            <a:t>triệu</a:t>
          </a:r>
          <a:r>
            <a:rPr lang="en-AU" sz="1600" dirty="0"/>
            <a:t> </a:t>
          </a:r>
          <a:r>
            <a:rPr lang="en-AU" sz="1600" dirty="0" err="1"/>
            <a:t>chứng</a:t>
          </a:r>
          <a:r>
            <a:rPr lang="en-AU" sz="1600" dirty="0"/>
            <a:t> </a:t>
          </a:r>
          <a:r>
            <a:rPr lang="en-AU" sz="1600" dirty="0" err="1"/>
            <a:t>nghi</a:t>
          </a:r>
          <a:r>
            <a:rPr lang="en-AU" sz="1600" dirty="0"/>
            <a:t> </a:t>
          </a:r>
          <a:r>
            <a:rPr lang="en-AU" sz="1600" dirty="0" err="1"/>
            <a:t>lao</a:t>
          </a:r>
          <a:endParaRPr lang="en-AU" sz="1600" dirty="0"/>
        </a:p>
      </dgm:t>
    </dgm:pt>
    <dgm:pt modelId="{20062227-D9DB-410C-BD4E-AC78B09D58CF}" type="parTrans" cxnId="{EF1FDBD8-C592-46C4-89EB-5D9A31C6B733}">
      <dgm:prSet/>
      <dgm:spPr/>
      <dgm:t>
        <a:bodyPr/>
        <a:lstStyle/>
        <a:p>
          <a:endParaRPr lang="en-AU"/>
        </a:p>
      </dgm:t>
    </dgm:pt>
    <dgm:pt modelId="{3011F98E-22F1-4B07-A936-CA295317A276}" type="sibTrans" cxnId="{EF1FDBD8-C592-46C4-89EB-5D9A31C6B733}">
      <dgm:prSet/>
      <dgm:spPr/>
      <dgm:t>
        <a:bodyPr/>
        <a:lstStyle/>
        <a:p>
          <a:endParaRPr lang="en-AU"/>
        </a:p>
      </dgm:t>
    </dgm:pt>
    <dgm:pt modelId="{76B331A7-5DB5-4EBA-B9EE-3F9D5E1BCE09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600"/>
            </a:spcAft>
          </a:pPr>
          <a:r>
            <a:rPr lang="en-AU" sz="1600" dirty="0" err="1"/>
            <a:t>Trẻ</a:t>
          </a:r>
          <a:r>
            <a:rPr lang="en-AU" sz="1600" dirty="0"/>
            <a:t> &lt; 15 </a:t>
          </a:r>
          <a:r>
            <a:rPr lang="en-AU" sz="1600" dirty="0" err="1"/>
            <a:t>tuổi</a:t>
          </a:r>
          <a:r>
            <a:rPr lang="en-AU" sz="1600" dirty="0"/>
            <a:t>: XN </a:t>
          </a:r>
          <a:r>
            <a:rPr lang="en-AU" sz="1600" b="1" dirty="0"/>
            <a:t>them</a:t>
          </a:r>
          <a:r>
            <a:rPr lang="en-AU" sz="1600" dirty="0"/>
            <a:t> LCK </a:t>
          </a:r>
          <a:r>
            <a:rPr lang="en-AU" sz="1600" dirty="0" err="1"/>
            <a:t>nhóm</a:t>
          </a:r>
          <a:r>
            <a:rPr lang="en-AU" sz="1600" dirty="0"/>
            <a:t> A</a:t>
          </a:r>
        </a:p>
      </dgm:t>
    </dgm:pt>
    <dgm:pt modelId="{8ED6FF7F-5CA0-4C92-AAD8-B2736C0737B6}" type="parTrans" cxnId="{71A5CF01-C658-451B-90C8-D1499F0F0A28}">
      <dgm:prSet/>
      <dgm:spPr/>
      <dgm:t>
        <a:bodyPr/>
        <a:lstStyle/>
        <a:p>
          <a:endParaRPr lang="en-AU"/>
        </a:p>
      </dgm:t>
    </dgm:pt>
    <dgm:pt modelId="{FF9C1796-D652-48C2-9543-E5B9046AEDFB}" type="sibTrans" cxnId="{71A5CF01-C658-451B-90C8-D1499F0F0A28}">
      <dgm:prSet/>
      <dgm:spPr/>
      <dgm:t>
        <a:bodyPr/>
        <a:lstStyle/>
        <a:p>
          <a:endParaRPr lang="en-AU"/>
        </a:p>
      </dgm:t>
    </dgm:pt>
    <dgm:pt modelId="{BAC46CB1-1EC3-451D-BB4B-989CA5A87419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AU" sz="1600" dirty="0" err="1"/>
            <a:t>Có</a:t>
          </a:r>
          <a:r>
            <a:rPr lang="en-AU" sz="1600" dirty="0"/>
            <a:t> </a:t>
          </a:r>
          <a:r>
            <a:rPr lang="en-AU" sz="1600" dirty="0" err="1"/>
            <a:t>triệu</a:t>
          </a:r>
          <a:r>
            <a:rPr lang="en-AU" sz="1600" dirty="0"/>
            <a:t> </a:t>
          </a:r>
          <a:r>
            <a:rPr lang="en-AU" sz="1600" dirty="0" err="1"/>
            <a:t>chứng</a:t>
          </a:r>
          <a:r>
            <a:rPr lang="en-AU" sz="1600" dirty="0"/>
            <a:t> </a:t>
          </a:r>
          <a:r>
            <a:rPr lang="en-AU" sz="1600" dirty="0" err="1"/>
            <a:t>nghi</a:t>
          </a:r>
          <a:r>
            <a:rPr lang="en-AU" sz="1600" dirty="0"/>
            <a:t> </a:t>
          </a:r>
          <a:r>
            <a:rPr lang="en-AU" sz="1600" dirty="0" err="1"/>
            <a:t>lao</a:t>
          </a:r>
          <a:endParaRPr lang="en-AU" sz="1600" dirty="0"/>
        </a:p>
      </dgm:t>
    </dgm:pt>
    <dgm:pt modelId="{9055AD5D-17DA-43AE-88E2-A746748755C5}" type="parTrans" cxnId="{323F4EA9-1F55-4586-9262-FA9B6E807A42}">
      <dgm:prSet/>
      <dgm:spPr/>
      <dgm:t>
        <a:bodyPr/>
        <a:lstStyle/>
        <a:p>
          <a:endParaRPr lang="en-AU"/>
        </a:p>
      </dgm:t>
    </dgm:pt>
    <dgm:pt modelId="{669A5DD6-1532-4B12-9C04-387BC392429C}" type="sibTrans" cxnId="{323F4EA9-1F55-4586-9262-FA9B6E807A42}">
      <dgm:prSet/>
      <dgm:spPr/>
      <dgm:t>
        <a:bodyPr/>
        <a:lstStyle/>
        <a:p>
          <a:endParaRPr lang="en-AU"/>
        </a:p>
      </dgm:t>
    </dgm:pt>
    <dgm:pt modelId="{1E9A8505-AC13-4618-B474-B5DCF5F6620C}">
      <dgm:prSet phldrT="[Text]" custT="1"/>
      <dgm:spPr/>
      <dgm:t>
        <a:bodyPr/>
        <a:lstStyle/>
        <a:p>
          <a:r>
            <a:rPr lang="en-AU" sz="1600" dirty="0"/>
            <a:t>Thu </a:t>
          </a:r>
          <a:r>
            <a:rPr lang="en-AU" sz="1600" dirty="0" err="1"/>
            <a:t>mẫu</a:t>
          </a:r>
          <a:r>
            <a:rPr lang="en-AU" sz="1600" dirty="0"/>
            <a:t> </a:t>
          </a:r>
          <a:r>
            <a:rPr lang="en-AU" sz="1600" dirty="0" err="1"/>
            <a:t>đờm</a:t>
          </a:r>
          <a:endParaRPr lang="en-AU" sz="1600" dirty="0"/>
        </a:p>
        <a:p>
          <a:r>
            <a:rPr lang="en-AU" sz="1600" dirty="0" err="1"/>
            <a:t>Chuyển</a:t>
          </a:r>
          <a:r>
            <a:rPr lang="en-AU" sz="1600" dirty="0"/>
            <a:t> </a:t>
          </a:r>
          <a:r>
            <a:rPr lang="en-AU" sz="1600" dirty="0" err="1"/>
            <a:t>mẫu</a:t>
          </a:r>
          <a:r>
            <a:rPr lang="en-AU" sz="1600" dirty="0"/>
            <a:t> XN</a:t>
          </a:r>
        </a:p>
      </dgm:t>
    </dgm:pt>
    <dgm:pt modelId="{3B77BD5A-C300-4F42-A97A-3916FCCDE286}" type="parTrans" cxnId="{0A3A30E2-AA1B-478A-B4A2-84120E95E769}">
      <dgm:prSet/>
      <dgm:spPr/>
      <dgm:t>
        <a:bodyPr/>
        <a:lstStyle/>
        <a:p>
          <a:endParaRPr lang="en-AU"/>
        </a:p>
      </dgm:t>
    </dgm:pt>
    <dgm:pt modelId="{7BDAACA1-9627-4604-ABF4-40FB667461F2}" type="sibTrans" cxnId="{0A3A30E2-AA1B-478A-B4A2-84120E95E769}">
      <dgm:prSet/>
      <dgm:spPr/>
      <dgm:t>
        <a:bodyPr/>
        <a:lstStyle/>
        <a:p>
          <a:endParaRPr lang="en-AU"/>
        </a:p>
      </dgm:t>
    </dgm:pt>
    <dgm:pt modelId="{BEDED75A-D8A5-442C-8F48-18A32C4A09B7}">
      <dgm:prSet custT="1"/>
      <dgm:spPr>
        <a:solidFill>
          <a:srgbClr val="92D050"/>
        </a:solidFill>
      </dgm:spPr>
      <dgm:t>
        <a:bodyPr/>
        <a:lstStyle/>
        <a:p>
          <a:pPr algn="l">
            <a:lnSpc>
              <a:spcPct val="100000"/>
            </a:lnSpc>
            <a:buFont typeface="Wingdings" panose="05000000000000000000" pitchFamily="2" charset="2"/>
            <a:buChar char="§"/>
          </a:pPr>
          <a:r>
            <a:rPr lang="en-AU" sz="1600" b="1" dirty="0">
              <a:solidFill>
                <a:schemeClr val="tx1"/>
              </a:solidFill>
            </a:rPr>
            <a:t>TTYT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thực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hiện</a:t>
          </a:r>
          <a:r>
            <a:rPr lang="en-AU" sz="1600" dirty="0">
              <a:solidFill>
                <a:schemeClr val="tx1"/>
              </a:solidFill>
            </a:rPr>
            <a:t> XN GeneXpert </a:t>
          </a:r>
        </a:p>
        <a:p>
          <a:pPr algn="l">
            <a:lnSpc>
              <a:spcPct val="90000"/>
            </a:lnSpc>
            <a:buFont typeface="Wingdings" panose="05000000000000000000" pitchFamily="2" charset="2"/>
            <a:buChar char="§"/>
          </a:pPr>
          <a:r>
            <a:rPr lang="en-AU" sz="1600" dirty="0" err="1">
              <a:solidFill>
                <a:schemeClr val="tx1"/>
              </a:solidFill>
            </a:rPr>
            <a:t>Chuyển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trả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kết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quả</a:t>
          </a:r>
          <a:r>
            <a:rPr lang="en-AU" sz="1600" dirty="0">
              <a:solidFill>
                <a:schemeClr val="tx1"/>
              </a:solidFill>
            </a:rPr>
            <a:t> </a:t>
          </a:r>
          <a:r>
            <a:rPr lang="en-AU" sz="1600" dirty="0" err="1">
              <a:solidFill>
                <a:schemeClr val="tx1"/>
              </a:solidFill>
            </a:rPr>
            <a:t>về</a:t>
          </a:r>
          <a:r>
            <a:rPr lang="en-AU" sz="1600" dirty="0">
              <a:solidFill>
                <a:schemeClr val="tx1"/>
              </a:solidFill>
            </a:rPr>
            <a:t> TYT</a:t>
          </a:r>
        </a:p>
      </dgm:t>
    </dgm:pt>
    <dgm:pt modelId="{F5FB0A88-E840-41D3-88D9-54DCDBF732DA}" type="parTrans" cxnId="{08E25202-5325-4975-909E-85C0E27AE068}">
      <dgm:prSet/>
      <dgm:spPr/>
      <dgm:t>
        <a:bodyPr/>
        <a:lstStyle/>
        <a:p>
          <a:endParaRPr lang="en-AU"/>
        </a:p>
      </dgm:t>
    </dgm:pt>
    <dgm:pt modelId="{D9EBF3F9-0929-4C4C-93E5-608F29D7D32D}" type="sibTrans" cxnId="{08E25202-5325-4975-909E-85C0E27AE068}">
      <dgm:prSet/>
      <dgm:spPr/>
      <dgm:t>
        <a:bodyPr/>
        <a:lstStyle/>
        <a:p>
          <a:endParaRPr lang="en-AU"/>
        </a:p>
      </dgm:t>
    </dgm:pt>
    <dgm:pt modelId="{7605383B-E696-4DA3-B96E-D2D8531C55D7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AU" sz="1600" dirty="0" err="1"/>
            <a:t>Trả</a:t>
          </a:r>
          <a:r>
            <a:rPr lang="en-AU" sz="1600" dirty="0"/>
            <a:t> </a:t>
          </a:r>
          <a:r>
            <a:rPr lang="en-AU" sz="1600" dirty="0" err="1"/>
            <a:t>kết</a:t>
          </a:r>
          <a:r>
            <a:rPr lang="en-AU" sz="1600" dirty="0"/>
            <a:t> </a:t>
          </a:r>
          <a:r>
            <a:rPr lang="en-AU" sz="1600" dirty="0" err="1"/>
            <a:t>quả</a:t>
          </a:r>
          <a:r>
            <a:rPr lang="en-AU" sz="1600" dirty="0"/>
            <a:t> </a:t>
          </a:r>
          <a:r>
            <a:rPr lang="en-AU" sz="1600" dirty="0" err="1"/>
            <a:t>cho</a:t>
          </a:r>
          <a:r>
            <a:rPr lang="en-AU" sz="1600" dirty="0"/>
            <a:t> BN &amp; </a:t>
          </a:r>
          <a:r>
            <a:rPr lang="en-AU" sz="1600" dirty="0" err="1"/>
            <a:t>tư</a:t>
          </a:r>
          <a:r>
            <a:rPr lang="en-AU" sz="1600" dirty="0"/>
            <a:t> </a:t>
          </a:r>
          <a:r>
            <a:rPr lang="en-AU" sz="1600" dirty="0" err="1"/>
            <a:t>vấn</a:t>
          </a:r>
          <a:endParaRPr lang="en-AU" sz="1600" dirty="0"/>
        </a:p>
      </dgm:t>
    </dgm:pt>
    <dgm:pt modelId="{E3B2F9D9-18B2-4E78-BC5C-0E630B5E773F}" type="parTrans" cxnId="{85F8320C-0846-4B47-A8EF-132CE21A3F03}">
      <dgm:prSet/>
      <dgm:spPr/>
      <dgm:t>
        <a:bodyPr/>
        <a:lstStyle/>
        <a:p>
          <a:endParaRPr lang="en-AU"/>
        </a:p>
      </dgm:t>
    </dgm:pt>
    <dgm:pt modelId="{CDAB8110-E75D-4F0B-8AF9-FCF52CF5FFC1}" type="sibTrans" cxnId="{85F8320C-0846-4B47-A8EF-132CE21A3F03}">
      <dgm:prSet/>
      <dgm:spPr/>
      <dgm:t>
        <a:bodyPr/>
        <a:lstStyle/>
        <a:p>
          <a:endParaRPr lang="en-AU"/>
        </a:p>
      </dgm:t>
    </dgm:pt>
    <dgm:pt modelId="{B53BD87D-CDB2-4D97-A63D-B07D2F98C3AF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AU" sz="1600" dirty="0" err="1"/>
            <a:t>Người</a:t>
          </a:r>
          <a:r>
            <a:rPr lang="en-AU" sz="1600" dirty="0"/>
            <a:t> &gt;15 </a:t>
          </a:r>
          <a:r>
            <a:rPr lang="en-AU" sz="1600" dirty="0" err="1"/>
            <a:t>tuổi</a:t>
          </a:r>
          <a:r>
            <a:rPr lang="en-AU" sz="1600" dirty="0"/>
            <a:t>: Test </a:t>
          </a:r>
          <a:r>
            <a:rPr lang="en-AU" sz="1600" dirty="0" err="1"/>
            <a:t>Cúm</a:t>
          </a:r>
          <a:r>
            <a:rPr lang="en-AU" sz="1600" dirty="0"/>
            <a:t> ABRSV, COVID 19</a:t>
          </a:r>
        </a:p>
      </dgm:t>
    </dgm:pt>
    <dgm:pt modelId="{3FCD6FA5-EBB5-4813-BCF3-D76E612655EC}" type="sibTrans" cxnId="{95CD10C9-538E-4300-A3D8-31EAFA40FDBC}">
      <dgm:prSet/>
      <dgm:spPr/>
      <dgm:t>
        <a:bodyPr/>
        <a:lstStyle/>
        <a:p>
          <a:endParaRPr lang="en-AU"/>
        </a:p>
      </dgm:t>
    </dgm:pt>
    <dgm:pt modelId="{F6DB908F-B8C7-4F41-AE95-0CB768714690}" type="parTrans" cxnId="{95CD10C9-538E-4300-A3D8-31EAFA40FDBC}">
      <dgm:prSet/>
      <dgm:spPr/>
      <dgm:t>
        <a:bodyPr/>
        <a:lstStyle/>
        <a:p>
          <a:endParaRPr lang="en-AU"/>
        </a:p>
      </dgm:t>
    </dgm:pt>
    <dgm:pt modelId="{A4DB2A6E-F918-4741-9F36-A8A2A69EAE5A}" type="pres">
      <dgm:prSet presAssocID="{94C85BCE-7F4B-4767-A2A3-F197BF7A1FE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76F778B-CD19-40F0-898D-AD83F2259A41}" type="pres">
      <dgm:prSet presAssocID="{D0F1E1E3-B395-482A-AE19-876085928030}" presName="root1" presStyleCnt="0"/>
      <dgm:spPr/>
    </dgm:pt>
    <dgm:pt modelId="{5C0F89CD-F2FF-459A-9E18-08D05A3DCC03}" type="pres">
      <dgm:prSet presAssocID="{D0F1E1E3-B395-482A-AE19-876085928030}" presName="LevelOneTextNode" presStyleLbl="node0" presStyleIdx="0" presStyleCnt="1">
        <dgm:presLayoutVars>
          <dgm:chPref val="3"/>
        </dgm:presLayoutVars>
      </dgm:prSet>
      <dgm:spPr/>
    </dgm:pt>
    <dgm:pt modelId="{BE8B9BA4-BE6A-4670-931F-AFDE0D3466B7}" type="pres">
      <dgm:prSet presAssocID="{D0F1E1E3-B395-482A-AE19-876085928030}" presName="level2hierChild" presStyleCnt="0"/>
      <dgm:spPr/>
    </dgm:pt>
    <dgm:pt modelId="{3FCB8CF0-46DB-4113-994B-E52192E5892E}" type="pres">
      <dgm:prSet presAssocID="{20062227-D9DB-410C-BD4E-AC78B09D58CF}" presName="conn2-1" presStyleLbl="parChTrans1D2" presStyleIdx="0" presStyleCnt="2"/>
      <dgm:spPr/>
    </dgm:pt>
    <dgm:pt modelId="{CB8B4D2C-896B-48F7-8457-BA72FC0592B0}" type="pres">
      <dgm:prSet presAssocID="{20062227-D9DB-410C-BD4E-AC78B09D58CF}" presName="connTx" presStyleLbl="parChTrans1D2" presStyleIdx="0" presStyleCnt="2"/>
      <dgm:spPr/>
    </dgm:pt>
    <dgm:pt modelId="{55AC3028-9D68-4148-9983-E02E7EE6591F}" type="pres">
      <dgm:prSet presAssocID="{845867CC-66F2-4BA1-9D27-AB5C05FE034B}" presName="root2" presStyleCnt="0"/>
      <dgm:spPr/>
    </dgm:pt>
    <dgm:pt modelId="{6853ECF8-5B79-4248-83E3-8E5A5C900B99}" type="pres">
      <dgm:prSet presAssocID="{845867CC-66F2-4BA1-9D27-AB5C05FE034B}" presName="LevelTwoTextNode" presStyleLbl="node2" presStyleIdx="0" presStyleCnt="2">
        <dgm:presLayoutVars>
          <dgm:chPref val="3"/>
        </dgm:presLayoutVars>
      </dgm:prSet>
      <dgm:spPr/>
    </dgm:pt>
    <dgm:pt modelId="{E9DFFC95-19D4-4A25-A4EE-D0B0572CAF99}" type="pres">
      <dgm:prSet presAssocID="{845867CC-66F2-4BA1-9D27-AB5C05FE034B}" presName="level3hierChild" presStyleCnt="0"/>
      <dgm:spPr/>
    </dgm:pt>
    <dgm:pt modelId="{A161BCC3-D877-48FC-8ACA-E5F3A59FEE96}" type="pres">
      <dgm:prSet presAssocID="{F6DB908F-B8C7-4F41-AE95-0CB768714690}" presName="conn2-1" presStyleLbl="parChTrans1D3" presStyleIdx="0" presStyleCnt="4"/>
      <dgm:spPr/>
    </dgm:pt>
    <dgm:pt modelId="{3CEEB16F-CA7C-4088-9108-4856C0218B3F}" type="pres">
      <dgm:prSet presAssocID="{F6DB908F-B8C7-4F41-AE95-0CB768714690}" presName="connTx" presStyleLbl="parChTrans1D3" presStyleIdx="0" presStyleCnt="4"/>
      <dgm:spPr/>
    </dgm:pt>
    <dgm:pt modelId="{4652CD9F-6D36-4228-8AAD-4D7D6464B1D8}" type="pres">
      <dgm:prSet presAssocID="{B53BD87D-CDB2-4D97-A63D-B07D2F98C3AF}" presName="root2" presStyleCnt="0"/>
      <dgm:spPr/>
    </dgm:pt>
    <dgm:pt modelId="{98CF67C5-E6F7-4D40-BFC0-4350D39316CC}" type="pres">
      <dgm:prSet presAssocID="{B53BD87D-CDB2-4D97-A63D-B07D2F98C3AF}" presName="LevelTwoTextNode" presStyleLbl="node3" presStyleIdx="0" presStyleCnt="4">
        <dgm:presLayoutVars>
          <dgm:chPref val="3"/>
        </dgm:presLayoutVars>
      </dgm:prSet>
      <dgm:spPr/>
    </dgm:pt>
    <dgm:pt modelId="{BA5F7A1C-085E-4124-BAE0-F15525A61BCF}" type="pres">
      <dgm:prSet presAssocID="{B53BD87D-CDB2-4D97-A63D-B07D2F98C3AF}" presName="level3hierChild" presStyleCnt="0"/>
      <dgm:spPr/>
    </dgm:pt>
    <dgm:pt modelId="{FD4ECD9E-ECAD-4759-810A-CCE71A8ABA07}" type="pres">
      <dgm:prSet presAssocID="{8ED6FF7F-5CA0-4C92-AAD8-B2736C0737B6}" presName="conn2-1" presStyleLbl="parChTrans1D3" presStyleIdx="1" presStyleCnt="4"/>
      <dgm:spPr/>
    </dgm:pt>
    <dgm:pt modelId="{507FEB6C-E6DB-4AAD-8A81-DA18092B23E1}" type="pres">
      <dgm:prSet presAssocID="{8ED6FF7F-5CA0-4C92-AAD8-B2736C0737B6}" presName="connTx" presStyleLbl="parChTrans1D3" presStyleIdx="1" presStyleCnt="4"/>
      <dgm:spPr/>
    </dgm:pt>
    <dgm:pt modelId="{B44983D4-CE21-4673-995A-2F5522885904}" type="pres">
      <dgm:prSet presAssocID="{76B331A7-5DB5-4EBA-B9EE-3F9D5E1BCE09}" presName="root2" presStyleCnt="0"/>
      <dgm:spPr/>
    </dgm:pt>
    <dgm:pt modelId="{077DFBD4-092A-48C0-97ED-50AB980A304C}" type="pres">
      <dgm:prSet presAssocID="{76B331A7-5DB5-4EBA-B9EE-3F9D5E1BCE09}" presName="LevelTwoTextNode" presStyleLbl="node3" presStyleIdx="1" presStyleCnt="4">
        <dgm:presLayoutVars>
          <dgm:chPref val="3"/>
        </dgm:presLayoutVars>
      </dgm:prSet>
      <dgm:spPr/>
    </dgm:pt>
    <dgm:pt modelId="{15EB24C7-AB68-4DE7-93C3-7EE85F79C745}" type="pres">
      <dgm:prSet presAssocID="{76B331A7-5DB5-4EBA-B9EE-3F9D5E1BCE09}" presName="level3hierChild" presStyleCnt="0"/>
      <dgm:spPr/>
    </dgm:pt>
    <dgm:pt modelId="{6E5C088A-8299-46E1-93B2-8328B79150F5}" type="pres">
      <dgm:prSet presAssocID="{9055AD5D-17DA-43AE-88E2-A746748755C5}" presName="conn2-1" presStyleLbl="parChTrans1D2" presStyleIdx="1" presStyleCnt="2"/>
      <dgm:spPr/>
    </dgm:pt>
    <dgm:pt modelId="{918987F0-A118-4CFA-8B30-8F75FF6B1F7F}" type="pres">
      <dgm:prSet presAssocID="{9055AD5D-17DA-43AE-88E2-A746748755C5}" presName="connTx" presStyleLbl="parChTrans1D2" presStyleIdx="1" presStyleCnt="2"/>
      <dgm:spPr/>
    </dgm:pt>
    <dgm:pt modelId="{0112ED30-AC13-4A3A-A6CD-7818842978DB}" type="pres">
      <dgm:prSet presAssocID="{BAC46CB1-1EC3-451D-BB4B-989CA5A87419}" presName="root2" presStyleCnt="0"/>
      <dgm:spPr/>
    </dgm:pt>
    <dgm:pt modelId="{4BCB1C49-53FC-45AD-BA1A-35BE8378A9AF}" type="pres">
      <dgm:prSet presAssocID="{BAC46CB1-1EC3-451D-BB4B-989CA5A87419}" presName="LevelTwoTextNode" presStyleLbl="node2" presStyleIdx="1" presStyleCnt="2">
        <dgm:presLayoutVars>
          <dgm:chPref val="3"/>
        </dgm:presLayoutVars>
      </dgm:prSet>
      <dgm:spPr/>
    </dgm:pt>
    <dgm:pt modelId="{3678BDC5-79EF-4C66-8E2B-370A39E2092A}" type="pres">
      <dgm:prSet presAssocID="{BAC46CB1-1EC3-451D-BB4B-989CA5A87419}" presName="level3hierChild" presStyleCnt="0"/>
      <dgm:spPr/>
    </dgm:pt>
    <dgm:pt modelId="{453F0CA6-6012-4FD5-BBFF-5B7F5893B540}" type="pres">
      <dgm:prSet presAssocID="{3B77BD5A-C300-4F42-A97A-3916FCCDE286}" presName="conn2-1" presStyleLbl="parChTrans1D3" presStyleIdx="2" presStyleCnt="4"/>
      <dgm:spPr/>
    </dgm:pt>
    <dgm:pt modelId="{C097B30F-BC20-483F-BF26-DBC3D16239FF}" type="pres">
      <dgm:prSet presAssocID="{3B77BD5A-C300-4F42-A97A-3916FCCDE286}" presName="connTx" presStyleLbl="parChTrans1D3" presStyleIdx="2" presStyleCnt="4"/>
      <dgm:spPr/>
    </dgm:pt>
    <dgm:pt modelId="{C8056A39-029B-4D3D-A56F-56331EE7A91E}" type="pres">
      <dgm:prSet presAssocID="{1E9A8505-AC13-4618-B474-B5DCF5F6620C}" presName="root2" presStyleCnt="0"/>
      <dgm:spPr/>
    </dgm:pt>
    <dgm:pt modelId="{26B476C9-CD1C-47AA-ACA5-14A7D6E3A5F0}" type="pres">
      <dgm:prSet presAssocID="{1E9A8505-AC13-4618-B474-B5DCF5F6620C}" presName="LevelTwoTextNode" presStyleLbl="node3" presStyleIdx="2" presStyleCnt="4">
        <dgm:presLayoutVars>
          <dgm:chPref val="3"/>
        </dgm:presLayoutVars>
      </dgm:prSet>
      <dgm:spPr/>
    </dgm:pt>
    <dgm:pt modelId="{C79F7B8C-9C7D-4871-86E9-0EC04E677311}" type="pres">
      <dgm:prSet presAssocID="{1E9A8505-AC13-4618-B474-B5DCF5F6620C}" presName="level3hierChild" presStyleCnt="0"/>
      <dgm:spPr/>
    </dgm:pt>
    <dgm:pt modelId="{C05ED59C-067E-4612-9A96-79A4FEB295B8}" type="pres">
      <dgm:prSet presAssocID="{F5FB0A88-E840-41D3-88D9-54DCDBF732DA}" presName="conn2-1" presStyleLbl="parChTrans1D4" presStyleIdx="0" presStyleCnt="1"/>
      <dgm:spPr/>
    </dgm:pt>
    <dgm:pt modelId="{444C33C5-BB0D-4229-966C-F36114EA2BED}" type="pres">
      <dgm:prSet presAssocID="{F5FB0A88-E840-41D3-88D9-54DCDBF732DA}" presName="connTx" presStyleLbl="parChTrans1D4" presStyleIdx="0" presStyleCnt="1"/>
      <dgm:spPr/>
    </dgm:pt>
    <dgm:pt modelId="{8A877357-5E5E-4C9C-9873-4C926307BE63}" type="pres">
      <dgm:prSet presAssocID="{BEDED75A-D8A5-442C-8F48-18A32C4A09B7}" presName="root2" presStyleCnt="0"/>
      <dgm:spPr/>
    </dgm:pt>
    <dgm:pt modelId="{FCB118D6-DF5C-4012-94C2-1EBA6210A1F9}" type="pres">
      <dgm:prSet presAssocID="{BEDED75A-D8A5-442C-8F48-18A32C4A09B7}" presName="LevelTwoTextNode" presStyleLbl="node4" presStyleIdx="0" presStyleCnt="1" custScaleX="167132">
        <dgm:presLayoutVars>
          <dgm:chPref val="3"/>
        </dgm:presLayoutVars>
      </dgm:prSet>
      <dgm:spPr/>
    </dgm:pt>
    <dgm:pt modelId="{D2A0DAF6-58EC-4F46-9B98-BA754F1926B3}" type="pres">
      <dgm:prSet presAssocID="{BEDED75A-D8A5-442C-8F48-18A32C4A09B7}" presName="level3hierChild" presStyleCnt="0"/>
      <dgm:spPr/>
    </dgm:pt>
    <dgm:pt modelId="{B9AB50C5-3A66-4E26-8621-D76793161C1E}" type="pres">
      <dgm:prSet presAssocID="{E3B2F9D9-18B2-4E78-BC5C-0E630B5E773F}" presName="conn2-1" presStyleLbl="parChTrans1D3" presStyleIdx="3" presStyleCnt="4"/>
      <dgm:spPr/>
    </dgm:pt>
    <dgm:pt modelId="{B1073DB9-7F06-4FF5-ABEF-141C01F3271F}" type="pres">
      <dgm:prSet presAssocID="{E3B2F9D9-18B2-4E78-BC5C-0E630B5E773F}" presName="connTx" presStyleLbl="parChTrans1D3" presStyleIdx="3" presStyleCnt="4"/>
      <dgm:spPr/>
    </dgm:pt>
    <dgm:pt modelId="{41D0A42C-8558-4FA0-A853-2AAEE6781CD0}" type="pres">
      <dgm:prSet presAssocID="{7605383B-E696-4DA3-B96E-D2D8531C55D7}" presName="root2" presStyleCnt="0"/>
      <dgm:spPr/>
    </dgm:pt>
    <dgm:pt modelId="{9074172F-F357-4340-8C99-CF90D484207A}" type="pres">
      <dgm:prSet presAssocID="{7605383B-E696-4DA3-B96E-D2D8531C55D7}" presName="LevelTwoTextNode" presStyleLbl="node3" presStyleIdx="3" presStyleCnt="4">
        <dgm:presLayoutVars>
          <dgm:chPref val="3"/>
        </dgm:presLayoutVars>
      </dgm:prSet>
      <dgm:spPr/>
    </dgm:pt>
    <dgm:pt modelId="{F5941469-BC5E-45BA-B934-554622A0B91F}" type="pres">
      <dgm:prSet presAssocID="{7605383B-E696-4DA3-B96E-D2D8531C55D7}" presName="level3hierChild" presStyleCnt="0"/>
      <dgm:spPr/>
    </dgm:pt>
  </dgm:ptLst>
  <dgm:cxnLst>
    <dgm:cxn modelId="{71A5CF01-C658-451B-90C8-D1499F0F0A28}" srcId="{845867CC-66F2-4BA1-9D27-AB5C05FE034B}" destId="{76B331A7-5DB5-4EBA-B9EE-3F9D5E1BCE09}" srcOrd="1" destOrd="0" parTransId="{8ED6FF7F-5CA0-4C92-AAD8-B2736C0737B6}" sibTransId="{FF9C1796-D652-48C2-9543-E5B9046AEDFB}"/>
    <dgm:cxn modelId="{08E25202-5325-4975-909E-85C0E27AE068}" srcId="{1E9A8505-AC13-4618-B474-B5DCF5F6620C}" destId="{BEDED75A-D8A5-442C-8F48-18A32C4A09B7}" srcOrd="0" destOrd="0" parTransId="{F5FB0A88-E840-41D3-88D9-54DCDBF732DA}" sibTransId="{D9EBF3F9-0929-4C4C-93E5-608F29D7D32D}"/>
    <dgm:cxn modelId="{E9FA8704-C667-4652-AA35-603883BD89FE}" type="presOf" srcId="{BEDED75A-D8A5-442C-8F48-18A32C4A09B7}" destId="{FCB118D6-DF5C-4012-94C2-1EBA6210A1F9}" srcOrd="0" destOrd="0" presId="urn:microsoft.com/office/officeart/2005/8/layout/hierarchy2"/>
    <dgm:cxn modelId="{85F8320C-0846-4B47-A8EF-132CE21A3F03}" srcId="{BAC46CB1-1EC3-451D-BB4B-989CA5A87419}" destId="{7605383B-E696-4DA3-B96E-D2D8531C55D7}" srcOrd="1" destOrd="0" parTransId="{E3B2F9D9-18B2-4E78-BC5C-0E630B5E773F}" sibTransId="{CDAB8110-E75D-4F0B-8AF9-FCF52CF5FFC1}"/>
    <dgm:cxn modelId="{7213C425-16F5-47BD-AB85-F77E26401F78}" type="presOf" srcId="{E3B2F9D9-18B2-4E78-BC5C-0E630B5E773F}" destId="{B9AB50C5-3A66-4E26-8621-D76793161C1E}" srcOrd="0" destOrd="0" presId="urn:microsoft.com/office/officeart/2005/8/layout/hierarchy2"/>
    <dgm:cxn modelId="{615B5A2C-85D1-466E-B651-08836C94DEFF}" type="presOf" srcId="{BAC46CB1-1EC3-451D-BB4B-989CA5A87419}" destId="{4BCB1C49-53FC-45AD-BA1A-35BE8378A9AF}" srcOrd="0" destOrd="0" presId="urn:microsoft.com/office/officeart/2005/8/layout/hierarchy2"/>
    <dgm:cxn modelId="{34EA1337-5E0A-4A43-A070-505A7930A1C6}" type="presOf" srcId="{8ED6FF7F-5CA0-4C92-AAD8-B2736C0737B6}" destId="{FD4ECD9E-ECAD-4759-810A-CCE71A8ABA07}" srcOrd="0" destOrd="0" presId="urn:microsoft.com/office/officeart/2005/8/layout/hierarchy2"/>
    <dgm:cxn modelId="{DEE6B240-98D0-4FC4-8BB9-E2A9B413BCBF}" type="presOf" srcId="{845867CC-66F2-4BA1-9D27-AB5C05FE034B}" destId="{6853ECF8-5B79-4248-83E3-8E5A5C900B99}" srcOrd="0" destOrd="0" presId="urn:microsoft.com/office/officeart/2005/8/layout/hierarchy2"/>
    <dgm:cxn modelId="{9139BC61-74A2-4C6F-8FAD-CDFCA8EDA067}" type="presOf" srcId="{F6DB908F-B8C7-4F41-AE95-0CB768714690}" destId="{3CEEB16F-CA7C-4088-9108-4856C0218B3F}" srcOrd="1" destOrd="0" presId="urn:microsoft.com/office/officeart/2005/8/layout/hierarchy2"/>
    <dgm:cxn modelId="{E14AEC62-2612-42F7-8AB1-443742DDA514}" type="presOf" srcId="{B53BD87D-CDB2-4D97-A63D-B07D2F98C3AF}" destId="{98CF67C5-E6F7-4D40-BFC0-4350D39316CC}" srcOrd="0" destOrd="0" presId="urn:microsoft.com/office/officeart/2005/8/layout/hierarchy2"/>
    <dgm:cxn modelId="{A02DD84A-14DB-4464-9DC9-D88D338370F8}" type="presOf" srcId="{7605383B-E696-4DA3-B96E-D2D8531C55D7}" destId="{9074172F-F357-4340-8C99-CF90D484207A}" srcOrd="0" destOrd="0" presId="urn:microsoft.com/office/officeart/2005/8/layout/hierarchy2"/>
    <dgm:cxn modelId="{DFE6F273-8ADE-4B0C-A8C3-DB15F0D08BDA}" type="presOf" srcId="{F5FB0A88-E840-41D3-88D9-54DCDBF732DA}" destId="{C05ED59C-067E-4612-9A96-79A4FEB295B8}" srcOrd="0" destOrd="0" presId="urn:microsoft.com/office/officeart/2005/8/layout/hierarchy2"/>
    <dgm:cxn modelId="{6BCCEF74-2576-4ACC-9065-C736302CBB1F}" type="presOf" srcId="{1E9A8505-AC13-4618-B474-B5DCF5F6620C}" destId="{26B476C9-CD1C-47AA-ACA5-14A7D6E3A5F0}" srcOrd="0" destOrd="0" presId="urn:microsoft.com/office/officeart/2005/8/layout/hierarchy2"/>
    <dgm:cxn modelId="{15637085-B279-450A-B714-794DA992AE57}" type="presOf" srcId="{9055AD5D-17DA-43AE-88E2-A746748755C5}" destId="{918987F0-A118-4CFA-8B30-8F75FF6B1F7F}" srcOrd="1" destOrd="0" presId="urn:microsoft.com/office/officeart/2005/8/layout/hierarchy2"/>
    <dgm:cxn modelId="{BC26BE8B-F8B0-4B95-B3EF-71A2766116B5}" type="presOf" srcId="{F6DB908F-B8C7-4F41-AE95-0CB768714690}" destId="{A161BCC3-D877-48FC-8ACA-E5F3A59FEE96}" srcOrd="0" destOrd="0" presId="urn:microsoft.com/office/officeart/2005/8/layout/hierarchy2"/>
    <dgm:cxn modelId="{43E30F8D-E12D-40DA-BA1C-3F2D5EA3E48C}" type="presOf" srcId="{E3B2F9D9-18B2-4E78-BC5C-0E630B5E773F}" destId="{B1073DB9-7F06-4FF5-ABEF-141C01F3271F}" srcOrd="1" destOrd="0" presId="urn:microsoft.com/office/officeart/2005/8/layout/hierarchy2"/>
    <dgm:cxn modelId="{4B5565A4-D707-4F66-A52C-D4438D9477FE}" type="presOf" srcId="{8ED6FF7F-5CA0-4C92-AAD8-B2736C0737B6}" destId="{507FEB6C-E6DB-4AAD-8A81-DA18092B23E1}" srcOrd="1" destOrd="0" presId="urn:microsoft.com/office/officeart/2005/8/layout/hierarchy2"/>
    <dgm:cxn modelId="{7D3EB8A7-549F-42F3-9E1D-F11AACD9E186}" type="presOf" srcId="{20062227-D9DB-410C-BD4E-AC78B09D58CF}" destId="{3FCB8CF0-46DB-4113-994B-E52192E5892E}" srcOrd="0" destOrd="0" presId="urn:microsoft.com/office/officeart/2005/8/layout/hierarchy2"/>
    <dgm:cxn modelId="{323F4EA9-1F55-4586-9262-FA9B6E807A42}" srcId="{D0F1E1E3-B395-482A-AE19-876085928030}" destId="{BAC46CB1-1EC3-451D-BB4B-989CA5A87419}" srcOrd="1" destOrd="0" parTransId="{9055AD5D-17DA-43AE-88E2-A746748755C5}" sibTransId="{669A5DD6-1532-4B12-9C04-387BC392429C}"/>
    <dgm:cxn modelId="{F978C2B7-EC7E-4368-A884-F8E17ABB5E11}" type="presOf" srcId="{9055AD5D-17DA-43AE-88E2-A746748755C5}" destId="{6E5C088A-8299-46E1-93B2-8328B79150F5}" srcOrd="0" destOrd="0" presId="urn:microsoft.com/office/officeart/2005/8/layout/hierarchy2"/>
    <dgm:cxn modelId="{3E70D1BB-1BFC-4D15-BE6B-4F97207C326B}" type="presOf" srcId="{F5FB0A88-E840-41D3-88D9-54DCDBF732DA}" destId="{444C33C5-BB0D-4229-966C-F36114EA2BED}" srcOrd="1" destOrd="0" presId="urn:microsoft.com/office/officeart/2005/8/layout/hierarchy2"/>
    <dgm:cxn modelId="{EEDAE7C1-008B-4E19-81F2-F436B04E0548}" type="presOf" srcId="{3B77BD5A-C300-4F42-A97A-3916FCCDE286}" destId="{453F0CA6-6012-4FD5-BBFF-5B7F5893B540}" srcOrd="0" destOrd="0" presId="urn:microsoft.com/office/officeart/2005/8/layout/hierarchy2"/>
    <dgm:cxn modelId="{95CD10C9-538E-4300-A3D8-31EAFA40FDBC}" srcId="{845867CC-66F2-4BA1-9D27-AB5C05FE034B}" destId="{B53BD87D-CDB2-4D97-A63D-B07D2F98C3AF}" srcOrd="0" destOrd="0" parTransId="{F6DB908F-B8C7-4F41-AE95-0CB768714690}" sibTransId="{3FCD6FA5-EBB5-4813-BCF3-D76E612655EC}"/>
    <dgm:cxn modelId="{4766AECC-A351-45A8-BFCC-586DCC221F28}" type="presOf" srcId="{3B77BD5A-C300-4F42-A97A-3916FCCDE286}" destId="{C097B30F-BC20-483F-BF26-DBC3D16239FF}" srcOrd="1" destOrd="0" presId="urn:microsoft.com/office/officeart/2005/8/layout/hierarchy2"/>
    <dgm:cxn modelId="{DAC7D2D1-1BAC-45EC-A940-F32D2C39D6BE}" type="presOf" srcId="{20062227-D9DB-410C-BD4E-AC78B09D58CF}" destId="{CB8B4D2C-896B-48F7-8457-BA72FC0592B0}" srcOrd="1" destOrd="0" presId="urn:microsoft.com/office/officeart/2005/8/layout/hierarchy2"/>
    <dgm:cxn modelId="{AAB13AD8-9EB3-4DB5-9521-8411668F932C}" type="presOf" srcId="{94C85BCE-7F4B-4767-A2A3-F197BF7A1FE6}" destId="{A4DB2A6E-F918-4741-9F36-A8A2A69EAE5A}" srcOrd="0" destOrd="0" presId="urn:microsoft.com/office/officeart/2005/8/layout/hierarchy2"/>
    <dgm:cxn modelId="{EF1FDBD8-C592-46C4-89EB-5D9A31C6B733}" srcId="{D0F1E1E3-B395-482A-AE19-876085928030}" destId="{845867CC-66F2-4BA1-9D27-AB5C05FE034B}" srcOrd="0" destOrd="0" parTransId="{20062227-D9DB-410C-BD4E-AC78B09D58CF}" sibTransId="{3011F98E-22F1-4B07-A936-CA295317A276}"/>
    <dgm:cxn modelId="{4CBFD5DF-2344-4677-A2CB-4E7ACE85C60A}" type="presOf" srcId="{D0F1E1E3-B395-482A-AE19-876085928030}" destId="{5C0F89CD-F2FF-459A-9E18-08D05A3DCC03}" srcOrd="0" destOrd="0" presId="urn:microsoft.com/office/officeart/2005/8/layout/hierarchy2"/>
    <dgm:cxn modelId="{0A3A30E2-AA1B-478A-B4A2-84120E95E769}" srcId="{BAC46CB1-1EC3-451D-BB4B-989CA5A87419}" destId="{1E9A8505-AC13-4618-B474-B5DCF5F6620C}" srcOrd="0" destOrd="0" parTransId="{3B77BD5A-C300-4F42-A97A-3916FCCDE286}" sibTransId="{7BDAACA1-9627-4604-ABF4-40FB667461F2}"/>
    <dgm:cxn modelId="{7C8FB5E7-3A99-49DB-99C2-DC33C01B7C99}" srcId="{94C85BCE-7F4B-4767-A2A3-F197BF7A1FE6}" destId="{D0F1E1E3-B395-482A-AE19-876085928030}" srcOrd="0" destOrd="0" parTransId="{24A29B9C-3355-4E3E-9BFE-5B715B3BC7F1}" sibTransId="{CCC5F612-9CA9-433D-B29E-AEC288EE5561}"/>
    <dgm:cxn modelId="{77269EF4-56B1-45C1-9C4B-F90BF579C73E}" type="presOf" srcId="{76B331A7-5DB5-4EBA-B9EE-3F9D5E1BCE09}" destId="{077DFBD4-092A-48C0-97ED-50AB980A304C}" srcOrd="0" destOrd="0" presId="urn:microsoft.com/office/officeart/2005/8/layout/hierarchy2"/>
    <dgm:cxn modelId="{C884FF2F-A7DC-4A6D-82B7-1EF0A4B7DAA8}" type="presParOf" srcId="{A4DB2A6E-F918-4741-9F36-A8A2A69EAE5A}" destId="{076F778B-CD19-40F0-898D-AD83F2259A41}" srcOrd="0" destOrd="0" presId="urn:microsoft.com/office/officeart/2005/8/layout/hierarchy2"/>
    <dgm:cxn modelId="{BD730C0C-9D92-4941-9D96-187B4874979F}" type="presParOf" srcId="{076F778B-CD19-40F0-898D-AD83F2259A41}" destId="{5C0F89CD-F2FF-459A-9E18-08D05A3DCC03}" srcOrd="0" destOrd="0" presId="urn:microsoft.com/office/officeart/2005/8/layout/hierarchy2"/>
    <dgm:cxn modelId="{45FEA157-F561-45FD-92FB-3568B5D6EE46}" type="presParOf" srcId="{076F778B-CD19-40F0-898D-AD83F2259A41}" destId="{BE8B9BA4-BE6A-4670-931F-AFDE0D3466B7}" srcOrd="1" destOrd="0" presId="urn:microsoft.com/office/officeart/2005/8/layout/hierarchy2"/>
    <dgm:cxn modelId="{806D1A60-5F8D-4091-A175-947657C2DDB8}" type="presParOf" srcId="{BE8B9BA4-BE6A-4670-931F-AFDE0D3466B7}" destId="{3FCB8CF0-46DB-4113-994B-E52192E5892E}" srcOrd="0" destOrd="0" presId="urn:microsoft.com/office/officeart/2005/8/layout/hierarchy2"/>
    <dgm:cxn modelId="{99D19C87-3FC6-4AAF-9CB6-A66D993976E8}" type="presParOf" srcId="{3FCB8CF0-46DB-4113-994B-E52192E5892E}" destId="{CB8B4D2C-896B-48F7-8457-BA72FC0592B0}" srcOrd="0" destOrd="0" presId="urn:microsoft.com/office/officeart/2005/8/layout/hierarchy2"/>
    <dgm:cxn modelId="{80AAE796-B757-4A5E-B768-849465FD0452}" type="presParOf" srcId="{BE8B9BA4-BE6A-4670-931F-AFDE0D3466B7}" destId="{55AC3028-9D68-4148-9983-E02E7EE6591F}" srcOrd="1" destOrd="0" presId="urn:microsoft.com/office/officeart/2005/8/layout/hierarchy2"/>
    <dgm:cxn modelId="{375B872F-4BCA-4774-B8B0-D1CB153F6CAA}" type="presParOf" srcId="{55AC3028-9D68-4148-9983-E02E7EE6591F}" destId="{6853ECF8-5B79-4248-83E3-8E5A5C900B99}" srcOrd="0" destOrd="0" presId="urn:microsoft.com/office/officeart/2005/8/layout/hierarchy2"/>
    <dgm:cxn modelId="{0820BAD9-491C-44DD-957B-FA147F44BEFB}" type="presParOf" srcId="{55AC3028-9D68-4148-9983-E02E7EE6591F}" destId="{E9DFFC95-19D4-4A25-A4EE-D0B0572CAF99}" srcOrd="1" destOrd="0" presId="urn:microsoft.com/office/officeart/2005/8/layout/hierarchy2"/>
    <dgm:cxn modelId="{C584AD86-DB7D-48E3-9108-C0DAF1BAF95A}" type="presParOf" srcId="{E9DFFC95-19D4-4A25-A4EE-D0B0572CAF99}" destId="{A161BCC3-D877-48FC-8ACA-E5F3A59FEE96}" srcOrd="0" destOrd="0" presId="urn:microsoft.com/office/officeart/2005/8/layout/hierarchy2"/>
    <dgm:cxn modelId="{62884A83-570D-4576-90AA-A67E52CA2BE3}" type="presParOf" srcId="{A161BCC3-D877-48FC-8ACA-E5F3A59FEE96}" destId="{3CEEB16F-CA7C-4088-9108-4856C0218B3F}" srcOrd="0" destOrd="0" presId="urn:microsoft.com/office/officeart/2005/8/layout/hierarchy2"/>
    <dgm:cxn modelId="{0C5BBF51-3909-42BF-ADE3-BE0026970B14}" type="presParOf" srcId="{E9DFFC95-19D4-4A25-A4EE-D0B0572CAF99}" destId="{4652CD9F-6D36-4228-8AAD-4D7D6464B1D8}" srcOrd="1" destOrd="0" presId="urn:microsoft.com/office/officeart/2005/8/layout/hierarchy2"/>
    <dgm:cxn modelId="{EE93F8BB-D4D2-4088-8393-5A4B9DD42A2D}" type="presParOf" srcId="{4652CD9F-6D36-4228-8AAD-4D7D6464B1D8}" destId="{98CF67C5-E6F7-4D40-BFC0-4350D39316CC}" srcOrd="0" destOrd="0" presId="urn:microsoft.com/office/officeart/2005/8/layout/hierarchy2"/>
    <dgm:cxn modelId="{429C9D45-F111-4BDC-AB7D-265EE5AEE522}" type="presParOf" srcId="{4652CD9F-6D36-4228-8AAD-4D7D6464B1D8}" destId="{BA5F7A1C-085E-4124-BAE0-F15525A61BCF}" srcOrd="1" destOrd="0" presId="urn:microsoft.com/office/officeart/2005/8/layout/hierarchy2"/>
    <dgm:cxn modelId="{DF389789-EC14-4788-891D-53389C44502E}" type="presParOf" srcId="{E9DFFC95-19D4-4A25-A4EE-D0B0572CAF99}" destId="{FD4ECD9E-ECAD-4759-810A-CCE71A8ABA07}" srcOrd="2" destOrd="0" presId="urn:microsoft.com/office/officeart/2005/8/layout/hierarchy2"/>
    <dgm:cxn modelId="{7DCC01E4-927D-48BE-93FC-62DD3D51A937}" type="presParOf" srcId="{FD4ECD9E-ECAD-4759-810A-CCE71A8ABA07}" destId="{507FEB6C-E6DB-4AAD-8A81-DA18092B23E1}" srcOrd="0" destOrd="0" presId="urn:microsoft.com/office/officeart/2005/8/layout/hierarchy2"/>
    <dgm:cxn modelId="{A7A9DE96-4959-4E40-88F7-B567EB6F85EE}" type="presParOf" srcId="{E9DFFC95-19D4-4A25-A4EE-D0B0572CAF99}" destId="{B44983D4-CE21-4673-995A-2F5522885904}" srcOrd="3" destOrd="0" presId="urn:microsoft.com/office/officeart/2005/8/layout/hierarchy2"/>
    <dgm:cxn modelId="{D5FAB011-866A-4A75-8505-F09D1F724D07}" type="presParOf" srcId="{B44983D4-CE21-4673-995A-2F5522885904}" destId="{077DFBD4-092A-48C0-97ED-50AB980A304C}" srcOrd="0" destOrd="0" presId="urn:microsoft.com/office/officeart/2005/8/layout/hierarchy2"/>
    <dgm:cxn modelId="{2EC8C362-417F-4E74-BFA6-5DA557599E9F}" type="presParOf" srcId="{B44983D4-CE21-4673-995A-2F5522885904}" destId="{15EB24C7-AB68-4DE7-93C3-7EE85F79C745}" srcOrd="1" destOrd="0" presId="urn:microsoft.com/office/officeart/2005/8/layout/hierarchy2"/>
    <dgm:cxn modelId="{C593A4FB-B634-4540-9D23-0AA149A959D8}" type="presParOf" srcId="{BE8B9BA4-BE6A-4670-931F-AFDE0D3466B7}" destId="{6E5C088A-8299-46E1-93B2-8328B79150F5}" srcOrd="2" destOrd="0" presId="urn:microsoft.com/office/officeart/2005/8/layout/hierarchy2"/>
    <dgm:cxn modelId="{DC390902-9383-4FD1-AAD0-06F69F686ACD}" type="presParOf" srcId="{6E5C088A-8299-46E1-93B2-8328B79150F5}" destId="{918987F0-A118-4CFA-8B30-8F75FF6B1F7F}" srcOrd="0" destOrd="0" presId="urn:microsoft.com/office/officeart/2005/8/layout/hierarchy2"/>
    <dgm:cxn modelId="{A062D614-123B-44BA-996C-AFECDA8C70BE}" type="presParOf" srcId="{BE8B9BA4-BE6A-4670-931F-AFDE0D3466B7}" destId="{0112ED30-AC13-4A3A-A6CD-7818842978DB}" srcOrd="3" destOrd="0" presId="urn:microsoft.com/office/officeart/2005/8/layout/hierarchy2"/>
    <dgm:cxn modelId="{247471AB-7388-4453-B54F-BC1806EFB92F}" type="presParOf" srcId="{0112ED30-AC13-4A3A-A6CD-7818842978DB}" destId="{4BCB1C49-53FC-45AD-BA1A-35BE8378A9AF}" srcOrd="0" destOrd="0" presId="urn:microsoft.com/office/officeart/2005/8/layout/hierarchy2"/>
    <dgm:cxn modelId="{0E5405EE-0287-4986-AF9D-6662EED4681B}" type="presParOf" srcId="{0112ED30-AC13-4A3A-A6CD-7818842978DB}" destId="{3678BDC5-79EF-4C66-8E2B-370A39E2092A}" srcOrd="1" destOrd="0" presId="urn:microsoft.com/office/officeart/2005/8/layout/hierarchy2"/>
    <dgm:cxn modelId="{E320BCC0-9AE5-444D-95B8-318145559175}" type="presParOf" srcId="{3678BDC5-79EF-4C66-8E2B-370A39E2092A}" destId="{453F0CA6-6012-4FD5-BBFF-5B7F5893B540}" srcOrd="0" destOrd="0" presId="urn:microsoft.com/office/officeart/2005/8/layout/hierarchy2"/>
    <dgm:cxn modelId="{6AA8EED8-7677-42D6-A668-8988E6499E93}" type="presParOf" srcId="{453F0CA6-6012-4FD5-BBFF-5B7F5893B540}" destId="{C097B30F-BC20-483F-BF26-DBC3D16239FF}" srcOrd="0" destOrd="0" presId="urn:microsoft.com/office/officeart/2005/8/layout/hierarchy2"/>
    <dgm:cxn modelId="{D337E1D4-5E4E-47FE-9C91-0D79B8DE5D48}" type="presParOf" srcId="{3678BDC5-79EF-4C66-8E2B-370A39E2092A}" destId="{C8056A39-029B-4D3D-A56F-56331EE7A91E}" srcOrd="1" destOrd="0" presId="urn:microsoft.com/office/officeart/2005/8/layout/hierarchy2"/>
    <dgm:cxn modelId="{73D8A64B-7B4F-4605-83CA-DBAE559E1A6C}" type="presParOf" srcId="{C8056A39-029B-4D3D-A56F-56331EE7A91E}" destId="{26B476C9-CD1C-47AA-ACA5-14A7D6E3A5F0}" srcOrd="0" destOrd="0" presId="urn:microsoft.com/office/officeart/2005/8/layout/hierarchy2"/>
    <dgm:cxn modelId="{649C174D-8197-4646-B522-CC80B98FC340}" type="presParOf" srcId="{C8056A39-029B-4D3D-A56F-56331EE7A91E}" destId="{C79F7B8C-9C7D-4871-86E9-0EC04E677311}" srcOrd="1" destOrd="0" presId="urn:microsoft.com/office/officeart/2005/8/layout/hierarchy2"/>
    <dgm:cxn modelId="{0575B511-6544-42F6-B144-96906511BF46}" type="presParOf" srcId="{C79F7B8C-9C7D-4871-86E9-0EC04E677311}" destId="{C05ED59C-067E-4612-9A96-79A4FEB295B8}" srcOrd="0" destOrd="0" presId="urn:microsoft.com/office/officeart/2005/8/layout/hierarchy2"/>
    <dgm:cxn modelId="{91385BD3-8895-4723-A0E4-94B1FAF4D497}" type="presParOf" srcId="{C05ED59C-067E-4612-9A96-79A4FEB295B8}" destId="{444C33C5-BB0D-4229-966C-F36114EA2BED}" srcOrd="0" destOrd="0" presId="urn:microsoft.com/office/officeart/2005/8/layout/hierarchy2"/>
    <dgm:cxn modelId="{978D0847-6242-4422-AC54-12B4F2C21D61}" type="presParOf" srcId="{C79F7B8C-9C7D-4871-86E9-0EC04E677311}" destId="{8A877357-5E5E-4C9C-9873-4C926307BE63}" srcOrd="1" destOrd="0" presId="urn:microsoft.com/office/officeart/2005/8/layout/hierarchy2"/>
    <dgm:cxn modelId="{55A76542-3154-4641-A528-A4A25290E785}" type="presParOf" srcId="{8A877357-5E5E-4C9C-9873-4C926307BE63}" destId="{FCB118D6-DF5C-4012-94C2-1EBA6210A1F9}" srcOrd="0" destOrd="0" presId="urn:microsoft.com/office/officeart/2005/8/layout/hierarchy2"/>
    <dgm:cxn modelId="{A2B0D9B0-FE2E-44F7-803D-D64824575C40}" type="presParOf" srcId="{8A877357-5E5E-4C9C-9873-4C926307BE63}" destId="{D2A0DAF6-58EC-4F46-9B98-BA754F1926B3}" srcOrd="1" destOrd="0" presId="urn:microsoft.com/office/officeart/2005/8/layout/hierarchy2"/>
    <dgm:cxn modelId="{1122CDDB-7B99-4F94-BC97-FDFDAA8EAEA3}" type="presParOf" srcId="{3678BDC5-79EF-4C66-8E2B-370A39E2092A}" destId="{B9AB50C5-3A66-4E26-8621-D76793161C1E}" srcOrd="2" destOrd="0" presId="urn:microsoft.com/office/officeart/2005/8/layout/hierarchy2"/>
    <dgm:cxn modelId="{A3CB302F-AA8D-40E2-9B47-347086EE2C9C}" type="presParOf" srcId="{B9AB50C5-3A66-4E26-8621-D76793161C1E}" destId="{B1073DB9-7F06-4FF5-ABEF-141C01F3271F}" srcOrd="0" destOrd="0" presId="urn:microsoft.com/office/officeart/2005/8/layout/hierarchy2"/>
    <dgm:cxn modelId="{31F6CD2E-057C-4FB7-AEAE-C3357A31D817}" type="presParOf" srcId="{3678BDC5-79EF-4C66-8E2B-370A39E2092A}" destId="{41D0A42C-8558-4FA0-A853-2AAEE6781CD0}" srcOrd="3" destOrd="0" presId="urn:microsoft.com/office/officeart/2005/8/layout/hierarchy2"/>
    <dgm:cxn modelId="{9E8BAB53-9426-4FE0-A1EE-DCF86EE8BDA0}" type="presParOf" srcId="{41D0A42C-8558-4FA0-A853-2AAEE6781CD0}" destId="{9074172F-F357-4340-8C99-CF90D484207A}" srcOrd="0" destOrd="0" presId="urn:microsoft.com/office/officeart/2005/8/layout/hierarchy2"/>
    <dgm:cxn modelId="{7C2D4D67-77EF-4949-826E-FEA23840261A}" type="presParOf" srcId="{41D0A42C-8558-4FA0-A853-2AAEE6781CD0}" destId="{F5941469-BC5E-45BA-B934-554622A0B91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9A82A5B-49DF-4AEF-A217-87A0887E2553}" type="doc">
      <dgm:prSet loTypeId="urn:microsoft.com/office/officeart/2008/layout/VerticalCurvedList" loCatId="list" qsTypeId="urn:microsoft.com/office/officeart/2005/8/quickstyle/simple3" qsCatId="simple" csTypeId="urn:microsoft.com/office/officeart/2005/8/colors/colorful4" csCatId="colorful" phldr="1"/>
      <dgm:spPr/>
      <dgm:t>
        <a:bodyPr/>
        <a:lstStyle/>
        <a:p>
          <a:endParaRPr lang="en-AU"/>
        </a:p>
      </dgm:t>
    </dgm:pt>
    <dgm:pt modelId="{EB07FB17-A79A-44FE-A088-F53E9675B7AB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23.000 test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COVID19, 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20.000 test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ú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A+B+ RVS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5000 test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liê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hó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A</a:t>
          </a:r>
        </a:p>
      </dgm:t>
    </dgm:pt>
    <dgm:pt modelId="{2D9D5FF7-72B7-4C36-81A2-D93BD7A9D3B1}" type="parTrans" cxnId="{F12319AC-9205-4244-9594-E7A6BCF401E4}">
      <dgm:prSet/>
      <dgm:spPr/>
      <dgm:t>
        <a:bodyPr/>
        <a:lstStyle/>
        <a:p>
          <a:endParaRPr lang="en-AU"/>
        </a:p>
      </dgm:t>
    </dgm:pt>
    <dgm:pt modelId="{64871E30-3B19-44EC-A508-B94004B2A031}" type="sibTrans" cxnId="{F12319AC-9205-4244-9594-E7A6BCF401E4}">
      <dgm:prSet/>
      <dgm:spPr/>
      <dgm:t>
        <a:bodyPr/>
        <a:lstStyle/>
        <a:p>
          <a:endParaRPr lang="en-AU"/>
        </a:p>
      </dgm:t>
    </dgm:pt>
    <dgm:pt modelId="{728136AF-E1C0-4B49-A0E0-5E28BCD8DBF8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3600 Cartridge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Xper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/MTB-RIF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Set up 2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hệ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hố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GeneXpert 4 module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ạ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khoa XN 2 TTYT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2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lưu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điệ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2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lắc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2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ủ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mát</a:t>
          </a:r>
          <a:endParaRPr lang="en-AU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99F49EB-D367-4D54-A0FB-93343B84B71F}" type="parTrans" cxnId="{ACC39F33-0F8E-4AA3-AB4A-738FCD6AC4BA}">
      <dgm:prSet/>
      <dgm:spPr/>
      <dgm:t>
        <a:bodyPr/>
        <a:lstStyle/>
        <a:p>
          <a:endParaRPr lang="en-AU"/>
        </a:p>
      </dgm:t>
    </dgm:pt>
    <dgm:pt modelId="{598562D4-1263-4FC5-870D-4E371454A869}" type="sibTrans" cxnId="{ACC39F33-0F8E-4AA3-AB4A-738FCD6AC4BA}">
      <dgm:prSet/>
      <dgm:spPr/>
      <dgm:t>
        <a:bodyPr/>
        <a:lstStyle/>
        <a:p>
          <a:endParaRPr lang="en-AU"/>
        </a:p>
      </dgm:t>
    </dgm:pt>
    <dgm:pt modelId="{848FF223-A186-45F3-88FA-7B3EFC29680C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57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ính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để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bà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CSYT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DA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à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liệu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ruyề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hô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: 55.000 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ờ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rơ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1000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pano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57 USB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hứa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bà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thanh</a:t>
          </a:r>
        </a:p>
      </dgm:t>
    </dgm:pt>
    <dgm:pt modelId="{8CD8024D-0AD3-4ADE-8BDF-EA8C686D5079}" type="parTrans" cxnId="{B5CC59C3-4315-4BD0-AC19-EF2EE587A74B}">
      <dgm:prSet/>
      <dgm:spPr/>
      <dgm:t>
        <a:bodyPr/>
        <a:lstStyle/>
        <a:p>
          <a:endParaRPr lang="en-AU"/>
        </a:p>
      </dgm:t>
    </dgm:pt>
    <dgm:pt modelId="{9AB11C36-B208-4FB7-B452-A39BFE8FB793}" type="sibTrans" cxnId="{B5CC59C3-4315-4BD0-AC19-EF2EE587A74B}">
      <dgm:prSet/>
      <dgm:spPr/>
      <dgm:t>
        <a:bodyPr/>
        <a:lstStyle/>
        <a:p>
          <a:endParaRPr lang="en-AU"/>
        </a:p>
      </dgm:t>
    </dgm:pt>
    <dgm:pt modelId="{F2E89A0A-AE86-4CB2-A278-CD4BF5370372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tiêu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hao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: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Ồ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falcon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gă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ay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ủ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rác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ước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sá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khuẩn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khẩu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ra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đó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gói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3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lớp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… </a:t>
          </a:r>
        </a:p>
        <a:p>
          <a:pPr>
            <a:lnSpc>
              <a:spcPct val="100000"/>
            </a:lnSpc>
            <a:spcAft>
              <a:spcPts val="0"/>
            </a:spcAft>
            <a:buNone/>
          </a:pP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dụng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cụ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dirty="0" err="1">
              <a:latin typeface="Calibri" panose="020F0502020204030204" pitchFamily="34" charset="0"/>
              <a:cs typeface="Calibri" panose="020F0502020204030204" pitchFamily="34" charset="0"/>
            </a:rPr>
            <a:t>phòng</a:t>
          </a:r>
          <a:r>
            <a:rPr lang="en-AU" sz="1800" b="1" dirty="0">
              <a:latin typeface="Calibri" panose="020F0502020204030204" pitchFamily="34" charset="0"/>
              <a:cs typeface="Calibri" panose="020F0502020204030204" pitchFamily="34" charset="0"/>
            </a:rPr>
            <a:t> XN: 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Pocan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Đồ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hồ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bấ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giây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giá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đự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ống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dirty="0">
              <a:latin typeface="Calibri" panose="020F0502020204030204" pitchFamily="34" charset="0"/>
              <a:cs typeface="Calibri" panose="020F0502020204030204" pitchFamily="34" charset="0"/>
            </a:rPr>
            <a:t>,…</a:t>
          </a:r>
        </a:p>
      </dgm:t>
    </dgm:pt>
    <dgm:pt modelId="{AA425203-A272-4DAF-AFC6-80BB5825360E}" type="parTrans" cxnId="{80DD8B9E-824D-4546-A9DE-BCF14CBEA3CB}">
      <dgm:prSet/>
      <dgm:spPr/>
      <dgm:t>
        <a:bodyPr/>
        <a:lstStyle/>
        <a:p>
          <a:endParaRPr lang="en-AU"/>
        </a:p>
      </dgm:t>
    </dgm:pt>
    <dgm:pt modelId="{6CA70275-26FA-4AF4-9C3E-EDF0240F765F}" type="sibTrans" cxnId="{80DD8B9E-824D-4546-A9DE-BCF14CBEA3CB}">
      <dgm:prSet/>
      <dgm:spPr/>
      <dgm:t>
        <a:bodyPr/>
        <a:lstStyle/>
        <a:p>
          <a:endParaRPr lang="en-AU"/>
        </a:p>
      </dgm:t>
    </dgm:pt>
    <dgm:pt modelId="{BB19526C-7287-45A8-92E8-8D0B6C027E4B}" type="pres">
      <dgm:prSet presAssocID="{B9A82A5B-49DF-4AEF-A217-87A0887E2553}" presName="Name0" presStyleCnt="0">
        <dgm:presLayoutVars>
          <dgm:chMax val="7"/>
          <dgm:chPref val="7"/>
          <dgm:dir/>
        </dgm:presLayoutVars>
      </dgm:prSet>
      <dgm:spPr/>
    </dgm:pt>
    <dgm:pt modelId="{8990497E-CCEA-4784-9B41-02870023C8C5}" type="pres">
      <dgm:prSet presAssocID="{B9A82A5B-49DF-4AEF-A217-87A0887E2553}" presName="Name1" presStyleCnt="0"/>
      <dgm:spPr/>
    </dgm:pt>
    <dgm:pt modelId="{4928A20F-8B12-4359-98FE-578B283A14FF}" type="pres">
      <dgm:prSet presAssocID="{B9A82A5B-49DF-4AEF-A217-87A0887E2553}" presName="cycle" presStyleCnt="0"/>
      <dgm:spPr/>
    </dgm:pt>
    <dgm:pt modelId="{2AD6E5A3-E75C-4EEC-ACBE-C8CD2BB6FA6C}" type="pres">
      <dgm:prSet presAssocID="{B9A82A5B-49DF-4AEF-A217-87A0887E2553}" presName="srcNode" presStyleLbl="node1" presStyleIdx="0" presStyleCnt="4"/>
      <dgm:spPr/>
    </dgm:pt>
    <dgm:pt modelId="{6BD82966-3B58-447A-9B63-838F7C975ED9}" type="pres">
      <dgm:prSet presAssocID="{B9A82A5B-49DF-4AEF-A217-87A0887E2553}" presName="conn" presStyleLbl="parChTrans1D2" presStyleIdx="0" presStyleCnt="1"/>
      <dgm:spPr/>
    </dgm:pt>
    <dgm:pt modelId="{C9040AFF-3740-4015-AC3E-1D5FF5AC2FF4}" type="pres">
      <dgm:prSet presAssocID="{B9A82A5B-49DF-4AEF-A217-87A0887E2553}" presName="extraNode" presStyleLbl="node1" presStyleIdx="0" presStyleCnt="4"/>
      <dgm:spPr/>
    </dgm:pt>
    <dgm:pt modelId="{0A0DD64A-085B-4F84-A236-DAD3425B18B0}" type="pres">
      <dgm:prSet presAssocID="{B9A82A5B-49DF-4AEF-A217-87A0887E2553}" presName="dstNode" presStyleLbl="node1" presStyleIdx="0" presStyleCnt="4"/>
      <dgm:spPr/>
    </dgm:pt>
    <dgm:pt modelId="{7B72CF23-4819-4F08-A528-7EBC2C81F66D}" type="pres">
      <dgm:prSet presAssocID="{EB07FB17-A79A-44FE-A088-F53E9675B7AB}" presName="text_1" presStyleLbl="node1" presStyleIdx="0" presStyleCnt="4">
        <dgm:presLayoutVars>
          <dgm:bulletEnabled val="1"/>
        </dgm:presLayoutVars>
      </dgm:prSet>
      <dgm:spPr/>
    </dgm:pt>
    <dgm:pt modelId="{D40CB187-ECBA-43A0-90CE-4D083EE59860}" type="pres">
      <dgm:prSet presAssocID="{EB07FB17-A79A-44FE-A088-F53E9675B7AB}" presName="accent_1" presStyleCnt="0"/>
      <dgm:spPr/>
    </dgm:pt>
    <dgm:pt modelId="{2D81D557-8183-4361-8AC1-AB5769D803E8}" type="pres">
      <dgm:prSet presAssocID="{EB07FB17-A79A-44FE-A088-F53E9675B7AB}" presName="accentRepeatNode" presStyleLbl="solidFgAcc1" presStyleIdx="0" presStyleCnt="4"/>
      <dgm:spPr/>
    </dgm:pt>
    <dgm:pt modelId="{16A9CE3F-B30E-47B0-9A3D-AB2BE900D671}" type="pres">
      <dgm:prSet presAssocID="{728136AF-E1C0-4B49-A0E0-5E28BCD8DBF8}" presName="text_2" presStyleLbl="node1" presStyleIdx="1" presStyleCnt="4">
        <dgm:presLayoutVars>
          <dgm:bulletEnabled val="1"/>
        </dgm:presLayoutVars>
      </dgm:prSet>
      <dgm:spPr/>
    </dgm:pt>
    <dgm:pt modelId="{42E3645D-A305-4C74-B73C-DDB29F9F214C}" type="pres">
      <dgm:prSet presAssocID="{728136AF-E1C0-4B49-A0E0-5E28BCD8DBF8}" presName="accent_2" presStyleCnt="0"/>
      <dgm:spPr/>
    </dgm:pt>
    <dgm:pt modelId="{D964F5CA-1B2E-40CC-9C04-7AE1EDD736E7}" type="pres">
      <dgm:prSet presAssocID="{728136AF-E1C0-4B49-A0E0-5E28BCD8DBF8}" presName="accentRepeatNode" presStyleLbl="solidFgAcc1" presStyleIdx="1" presStyleCnt="4"/>
      <dgm:spPr/>
    </dgm:pt>
    <dgm:pt modelId="{005D715B-62EE-4C45-8C26-BD13276B99AD}" type="pres">
      <dgm:prSet presAssocID="{848FF223-A186-45F3-88FA-7B3EFC29680C}" presName="text_3" presStyleLbl="node1" presStyleIdx="2" presStyleCnt="4">
        <dgm:presLayoutVars>
          <dgm:bulletEnabled val="1"/>
        </dgm:presLayoutVars>
      </dgm:prSet>
      <dgm:spPr/>
    </dgm:pt>
    <dgm:pt modelId="{9E00A9C1-EECB-4371-A6A9-80EA6C31F4C5}" type="pres">
      <dgm:prSet presAssocID="{848FF223-A186-45F3-88FA-7B3EFC29680C}" presName="accent_3" presStyleCnt="0"/>
      <dgm:spPr/>
    </dgm:pt>
    <dgm:pt modelId="{F46BE978-011C-4A08-9C56-3001E51C5EA3}" type="pres">
      <dgm:prSet presAssocID="{848FF223-A186-45F3-88FA-7B3EFC29680C}" presName="accentRepeatNode" presStyleLbl="solidFgAcc1" presStyleIdx="2" presStyleCnt="4"/>
      <dgm:spPr/>
    </dgm:pt>
    <dgm:pt modelId="{D8E0647C-C17D-4A4B-8A02-7481F60EACA9}" type="pres">
      <dgm:prSet presAssocID="{F2E89A0A-AE86-4CB2-A278-CD4BF5370372}" presName="text_4" presStyleLbl="node1" presStyleIdx="3" presStyleCnt="4">
        <dgm:presLayoutVars>
          <dgm:bulletEnabled val="1"/>
        </dgm:presLayoutVars>
      </dgm:prSet>
      <dgm:spPr/>
    </dgm:pt>
    <dgm:pt modelId="{1553A30C-6A9B-4CDB-A060-EA8C66AFFBC7}" type="pres">
      <dgm:prSet presAssocID="{F2E89A0A-AE86-4CB2-A278-CD4BF5370372}" presName="accent_4" presStyleCnt="0"/>
      <dgm:spPr/>
    </dgm:pt>
    <dgm:pt modelId="{267CE7E0-DCD0-4ECF-9210-8939ACD41A4C}" type="pres">
      <dgm:prSet presAssocID="{F2E89A0A-AE86-4CB2-A278-CD4BF5370372}" presName="accentRepeatNode" presStyleLbl="solidFgAcc1" presStyleIdx="3" presStyleCnt="4"/>
      <dgm:spPr/>
    </dgm:pt>
  </dgm:ptLst>
  <dgm:cxnLst>
    <dgm:cxn modelId="{ACC39F33-0F8E-4AA3-AB4A-738FCD6AC4BA}" srcId="{B9A82A5B-49DF-4AEF-A217-87A0887E2553}" destId="{728136AF-E1C0-4B49-A0E0-5E28BCD8DBF8}" srcOrd="1" destOrd="0" parTransId="{C99F49EB-D367-4D54-A0FB-93343B84B71F}" sibTransId="{598562D4-1263-4FC5-870D-4E371454A869}"/>
    <dgm:cxn modelId="{67A1C63C-2B96-44B7-A7AC-E7A6F0CF9CB9}" type="presOf" srcId="{848FF223-A186-45F3-88FA-7B3EFC29680C}" destId="{005D715B-62EE-4C45-8C26-BD13276B99AD}" srcOrd="0" destOrd="0" presId="urn:microsoft.com/office/officeart/2008/layout/VerticalCurvedList"/>
    <dgm:cxn modelId="{984E2C3D-513B-4328-A793-896CBFEE45A5}" type="presOf" srcId="{64871E30-3B19-44EC-A508-B94004B2A031}" destId="{6BD82966-3B58-447A-9B63-838F7C975ED9}" srcOrd="0" destOrd="0" presId="urn:microsoft.com/office/officeart/2008/layout/VerticalCurvedList"/>
    <dgm:cxn modelId="{80418745-AD0F-424A-BB49-E4AB3D0C68F1}" type="presOf" srcId="{F2E89A0A-AE86-4CB2-A278-CD4BF5370372}" destId="{D8E0647C-C17D-4A4B-8A02-7481F60EACA9}" srcOrd="0" destOrd="0" presId="urn:microsoft.com/office/officeart/2008/layout/VerticalCurvedList"/>
    <dgm:cxn modelId="{0E1C4F4B-9508-4BC8-B2D5-436D17343191}" type="presOf" srcId="{B9A82A5B-49DF-4AEF-A217-87A0887E2553}" destId="{BB19526C-7287-45A8-92E8-8D0B6C027E4B}" srcOrd="0" destOrd="0" presId="urn:microsoft.com/office/officeart/2008/layout/VerticalCurvedList"/>
    <dgm:cxn modelId="{FE866570-C588-4A68-A291-D5248856A518}" type="presOf" srcId="{728136AF-E1C0-4B49-A0E0-5E28BCD8DBF8}" destId="{16A9CE3F-B30E-47B0-9A3D-AB2BE900D671}" srcOrd="0" destOrd="0" presId="urn:microsoft.com/office/officeart/2008/layout/VerticalCurvedList"/>
    <dgm:cxn modelId="{80DD8B9E-824D-4546-A9DE-BCF14CBEA3CB}" srcId="{B9A82A5B-49DF-4AEF-A217-87A0887E2553}" destId="{F2E89A0A-AE86-4CB2-A278-CD4BF5370372}" srcOrd="3" destOrd="0" parTransId="{AA425203-A272-4DAF-AFC6-80BB5825360E}" sibTransId="{6CA70275-26FA-4AF4-9C3E-EDF0240F765F}"/>
    <dgm:cxn modelId="{D6BC6AA0-EC8A-44F0-8094-478B55ACE311}" type="presOf" srcId="{EB07FB17-A79A-44FE-A088-F53E9675B7AB}" destId="{7B72CF23-4819-4F08-A528-7EBC2C81F66D}" srcOrd="0" destOrd="0" presId="urn:microsoft.com/office/officeart/2008/layout/VerticalCurvedList"/>
    <dgm:cxn modelId="{F12319AC-9205-4244-9594-E7A6BCF401E4}" srcId="{B9A82A5B-49DF-4AEF-A217-87A0887E2553}" destId="{EB07FB17-A79A-44FE-A088-F53E9675B7AB}" srcOrd="0" destOrd="0" parTransId="{2D9D5FF7-72B7-4C36-81A2-D93BD7A9D3B1}" sibTransId="{64871E30-3B19-44EC-A508-B94004B2A031}"/>
    <dgm:cxn modelId="{B5CC59C3-4315-4BD0-AC19-EF2EE587A74B}" srcId="{B9A82A5B-49DF-4AEF-A217-87A0887E2553}" destId="{848FF223-A186-45F3-88FA-7B3EFC29680C}" srcOrd="2" destOrd="0" parTransId="{8CD8024D-0AD3-4ADE-8BDF-EA8C686D5079}" sibTransId="{9AB11C36-B208-4FB7-B452-A39BFE8FB793}"/>
    <dgm:cxn modelId="{D4C86697-7ECC-4DA9-B091-AA8EDCCD4EBF}" type="presParOf" srcId="{BB19526C-7287-45A8-92E8-8D0B6C027E4B}" destId="{8990497E-CCEA-4784-9B41-02870023C8C5}" srcOrd="0" destOrd="0" presId="urn:microsoft.com/office/officeart/2008/layout/VerticalCurvedList"/>
    <dgm:cxn modelId="{A5256B0E-8F53-4191-A958-7374B772ADD6}" type="presParOf" srcId="{8990497E-CCEA-4784-9B41-02870023C8C5}" destId="{4928A20F-8B12-4359-98FE-578B283A14FF}" srcOrd="0" destOrd="0" presId="urn:microsoft.com/office/officeart/2008/layout/VerticalCurvedList"/>
    <dgm:cxn modelId="{E3ABDBAD-5840-466A-A1C0-3F5312E2AAE7}" type="presParOf" srcId="{4928A20F-8B12-4359-98FE-578B283A14FF}" destId="{2AD6E5A3-E75C-4EEC-ACBE-C8CD2BB6FA6C}" srcOrd="0" destOrd="0" presId="urn:microsoft.com/office/officeart/2008/layout/VerticalCurvedList"/>
    <dgm:cxn modelId="{20C71D76-88DE-4C94-AF02-4DD4640EF4B4}" type="presParOf" srcId="{4928A20F-8B12-4359-98FE-578B283A14FF}" destId="{6BD82966-3B58-447A-9B63-838F7C975ED9}" srcOrd="1" destOrd="0" presId="urn:microsoft.com/office/officeart/2008/layout/VerticalCurvedList"/>
    <dgm:cxn modelId="{F7476934-EBB0-4973-8FE3-F2B8EE9A5FD2}" type="presParOf" srcId="{4928A20F-8B12-4359-98FE-578B283A14FF}" destId="{C9040AFF-3740-4015-AC3E-1D5FF5AC2FF4}" srcOrd="2" destOrd="0" presId="urn:microsoft.com/office/officeart/2008/layout/VerticalCurvedList"/>
    <dgm:cxn modelId="{9B41FA55-0082-4D97-9DD9-0215E2F4895A}" type="presParOf" srcId="{4928A20F-8B12-4359-98FE-578B283A14FF}" destId="{0A0DD64A-085B-4F84-A236-DAD3425B18B0}" srcOrd="3" destOrd="0" presId="urn:microsoft.com/office/officeart/2008/layout/VerticalCurvedList"/>
    <dgm:cxn modelId="{5EAF511A-0B27-4B3B-B43C-A989C501B246}" type="presParOf" srcId="{8990497E-CCEA-4784-9B41-02870023C8C5}" destId="{7B72CF23-4819-4F08-A528-7EBC2C81F66D}" srcOrd="1" destOrd="0" presId="urn:microsoft.com/office/officeart/2008/layout/VerticalCurvedList"/>
    <dgm:cxn modelId="{913BD53E-3C2B-4A0E-9F6E-173E8F025F52}" type="presParOf" srcId="{8990497E-CCEA-4784-9B41-02870023C8C5}" destId="{D40CB187-ECBA-43A0-90CE-4D083EE59860}" srcOrd="2" destOrd="0" presId="urn:microsoft.com/office/officeart/2008/layout/VerticalCurvedList"/>
    <dgm:cxn modelId="{31556775-7D06-4732-BB21-53E36086D378}" type="presParOf" srcId="{D40CB187-ECBA-43A0-90CE-4D083EE59860}" destId="{2D81D557-8183-4361-8AC1-AB5769D803E8}" srcOrd="0" destOrd="0" presId="urn:microsoft.com/office/officeart/2008/layout/VerticalCurvedList"/>
    <dgm:cxn modelId="{35F08D52-ECBA-491D-8E54-33FEA1E2B264}" type="presParOf" srcId="{8990497E-CCEA-4784-9B41-02870023C8C5}" destId="{16A9CE3F-B30E-47B0-9A3D-AB2BE900D671}" srcOrd="3" destOrd="0" presId="urn:microsoft.com/office/officeart/2008/layout/VerticalCurvedList"/>
    <dgm:cxn modelId="{C4D5DD10-0188-4D30-8E3D-0D29A468C21D}" type="presParOf" srcId="{8990497E-CCEA-4784-9B41-02870023C8C5}" destId="{42E3645D-A305-4C74-B73C-DDB29F9F214C}" srcOrd="4" destOrd="0" presId="urn:microsoft.com/office/officeart/2008/layout/VerticalCurvedList"/>
    <dgm:cxn modelId="{72EBF663-1081-4C96-BD68-C82FECC0DDB6}" type="presParOf" srcId="{42E3645D-A305-4C74-B73C-DDB29F9F214C}" destId="{D964F5CA-1B2E-40CC-9C04-7AE1EDD736E7}" srcOrd="0" destOrd="0" presId="urn:microsoft.com/office/officeart/2008/layout/VerticalCurvedList"/>
    <dgm:cxn modelId="{94000D3B-EDED-4790-A1DB-DE8519571A5F}" type="presParOf" srcId="{8990497E-CCEA-4784-9B41-02870023C8C5}" destId="{005D715B-62EE-4C45-8C26-BD13276B99AD}" srcOrd="5" destOrd="0" presId="urn:microsoft.com/office/officeart/2008/layout/VerticalCurvedList"/>
    <dgm:cxn modelId="{5825DA70-445F-48C9-AAC4-BB9F3D3B880D}" type="presParOf" srcId="{8990497E-CCEA-4784-9B41-02870023C8C5}" destId="{9E00A9C1-EECB-4371-A6A9-80EA6C31F4C5}" srcOrd="6" destOrd="0" presId="urn:microsoft.com/office/officeart/2008/layout/VerticalCurvedList"/>
    <dgm:cxn modelId="{DD74209B-49A4-4C6C-81C8-8008777F3C56}" type="presParOf" srcId="{9E00A9C1-EECB-4371-A6A9-80EA6C31F4C5}" destId="{F46BE978-011C-4A08-9C56-3001E51C5EA3}" srcOrd="0" destOrd="0" presId="urn:microsoft.com/office/officeart/2008/layout/VerticalCurvedList"/>
    <dgm:cxn modelId="{0E8D38A6-8080-4B04-9F74-1ABA603F6D07}" type="presParOf" srcId="{8990497E-CCEA-4784-9B41-02870023C8C5}" destId="{D8E0647C-C17D-4A4B-8A02-7481F60EACA9}" srcOrd="7" destOrd="0" presId="urn:microsoft.com/office/officeart/2008/layout/VerticalCurvedList"/>
    <dgm:cxn modelId="{11813EBB-61E1-4403-AFE8-2DE57F564A19}" type="presParOf" srcId="{8990497E-CCEA-4784-9B41-02870023C8C5}" destId="{1553A30C-6A9B-4CDB-A060-EA8C66AFFBC7}" srcOrd="8" destOrd="0" presId="urn:microsoft.com/office/officeart/2008/layout/VerticalCurvedList"/>
    <dgm:cxn modelId="{81EE0CFF-4F75-4685-A804-AEA9D1C6231F}" type="presParOf" srcId="{1553A30C-6A9B-4CDB-A060-EA8C66AFFBC7}" destId="{267CE7E0-DCD0-4ECF-9210-8939ACD41A4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439422E-87C5-4FFB-B70A-E8906B6EC1FC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B51EA91C-90CF-4C7F-B968-65CB3FEE6D8E}">
      <dgm:prSet phldrT="[Text]" custT="1"/>
      <dgm:spPr>
        <a:solidFill>
          <a:srgbClr val="00B0F0"/>
        </a:solidFill>
      </dgm:spPr>
      <dgm:t>
        <a:bodyPr/>
        <a:lstStyle/>
        <a:p>
          <a:r>
            <a:rPr lang="en-AU" sz="2400" b="1" dirty="0">
              <a:solidFill>
                <a:schemeClr val="tx1"/>
              </a:solidFill>
            </a:rPr>
            <a:t>#1: </a:t>
          </a:r>
          <a:r>
            <a:rPr lang="en-US" sz="2400" b="1" i="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Sử</a:t>
          </a:r>
          <a:r>
            <a:rPr lang="en-US" sz="2400" b="1" i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dụng</a:t>
          </a:r>
          <a:r>
            <a:rPr lang="en-US" sz="2400" b="1" i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phần</a:t>
          </a:r>
          <a:r>
            <a:rPr lang="en-US" sz="2400" b="1" i="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mềm</a:t>
          </a:r>
          <a:endParaRPr lang="en-AU" sz="2400" dirty="0">
            <a:solidFill>
              <a:schemeClr val="tx1"/>
            </a:solidFill>
          </a:endParaRPr>
        </a:p>
      </dgm:t>
    </dgm:pt>
    <dgm:pt modelId="{05483AE2-0E56-4300-BF8C-0326060407DE}" type="parTrans" cxnId="{3FAD77D7-4BA4-41B8-AC44-BAED9849F11B}">
      <dgm:prSet/>
      <dgm:spPr/>
      <dgm:t>
        <a:bodyPr/>
        <a:lstStyle/>
        <a:p>
          <a:endParaRPr lang="en-AU"/>
        </a:p>
      </dgm:t>
    </dgm:pt>
    <dgm:pt modelId="{9815CB0D-FC4B-4419-8953-6FC434822A0B}" type="sibTrans" cxnId="{3FAD77D7-4BA4-41B8-AC44-BAED9849F11B}">
      <dgm:prSet/>
      <dgm:spPr/>
      <dgm:t>
        <a:bodyPr/>
        <a:lstStyle/>
        <a:p>
          <a:endParaRPr lang="en-AU"/>
        </a:p>
      </dgm:t>
    </dgm:pt>
    <dgm:pt modelId="{C42109DE-019C-4661-8A0F-70CB4E8146B1}">
      <dgm:prSet phldrT="[Text]" custT="1"/>
      <dgm:spPr>
        <a:solidFill>
          <a:srgbClr val="D8E7F8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CBYT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o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iệ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ọ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ỉ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định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XN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bệnh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ân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CD217EF-C7BD-478E-A69E-E88E29CC287E}" type="parTrans" cxnId="{3865BEFB-661F-4520-97E4-AC45291E4AA5}">
      <dgm:prSet/>
      <dgm:spPr/>
      <dgm:t>
        <a:bodyPr/>
        <a:lstStyle/>
        <a:p>
          <a:endParaRPr lang="en-AU"/>
        </a:p>
      </dgm:t>
    </dgm:pt>
    <dgm:pt modelId="{1A473C72-2127-4787-BCEF-CA2F667F19FE}" type="sibTrans" cxnId="{3865BEFB-661F-4520-97E4-AC45291E4AA5}">
      <dgm:prSet/>
      <dgm:spPr/>
      <dgm:t>
        <a:bodyPr/>
        <a:lstStyle/>
        <a:p>
          <a:endParaRPr lang="en-AU"/>
        </a:p>
      </dgm:t>
    </dgm:pt>
    <dgm:pt modelId="{5188F400-3743-4241-8491-E51392124F9B}">
      <dgm:prSet phldrT="[Text]" custT="1"/>
      <dgm:spPr>
        <a:solidFill>
          <a:srgbClr val="00B0F0"/>
        </a:solidFill>
      </dgm:spPr>
      <dgm:t>
        <a:bodyPr/>
        <a:lstStyle/>
        <a:p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2</a:t>
          </a:r>
          <a:r>
            <a:rPr lang="en-US" sz="24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: 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Giao ban online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àng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uần</a:t>
          </a:r>
          <a:endParaRPr lang="en-AU" sz="2400" dirty="0"/>
        </a:p>
      </dgm:t>
    </dgm:pt>
    <dgm:pt modelId="{9091E014-3C89-4A17-B0F8-848A4ABF275C}" type="parTrans" cxnId="{8B10992C-6125-4E6E-989A-F2A66D9C1FAB}">
      <dgm:prSet/>
      <dgm:spPr/>
      <dgm:t>
        <a:bodyPr/>
        <a:lstStyle/>
        <a:p>
          <a:endParaRPr lang="en-AU"/>
        </a:p>
      </dgm:t>
    </dgm:pt>
    <dgm:pt modelId="{8E8D57EC-EA17-43BA-B957-9544417FFCE0}" type="sibTrans" cxnId="{8B10992C-6125-4E6E-989A-F2A66D9C1FAB}">
      <dgm:prSet/>
      <dgm:spPr/>
      <dgm:t>
        <a:bodyPr/>
        <a:lstStyle/>
        <a:p>
          <a:endParaRPr lang="en-AU"/>
        </a:p>
      </dgm:t>
    </dgm:pt>
    <dgm:pt modelId="{14F35D95-D860-43A8-961E-F4A6B9272892}">
      <dgm:prSet phldrT="[Text]" custT="1"/>
      <dgm:spPr>
        <a:solidFill>
          <a:srgbClr val="D8E7F8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ậ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ậ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ộ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&amp;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ị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hờ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ắ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phụ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ó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ă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ướ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ắ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ủa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ơ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ị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iể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ai</a:t>
          </a:r>
          <a:endParaRPr lang="en-AU" sz="2000" dirty="0"/>
        </a:p>
      </dgm:t>
    </dgm:pt>
    <dgm:pt modelId="{87DE95B1-2A82-4E24-9C91-75B21E8A820A}" type="parTrans" cxnId="{2374889B-6DDC-4433-8789-DEF054BB9346}">
      <dgm:prSet/>
      <dgm:spPr/>
      <dgm:t>
        <a:bodyPr/>
        <a:lstStyle/>
        <a:p>
          <a:endParaRPr lang="en-AU"/>
        </a:p>
      </dgm:t>
    </dgm:pt>
    <dgm:pt modelId="{03C0BCA5-7153-4EF4-AF04-3794E5020637}" type="sibTrans" cxnId="{2374889B-6DDC-4433-8789-DEF054BB9346}">
      <dgm:prSet/>
      <dgm:spPr/>
      <dgm:t>
        <a:bodyPr/>
        <a:lstStyle/>
        <a:p>
          <a:endParaRPr lang="en-AU"/>
        </a:p>
      </dgm:t>
    </dgm:pt>
    <dgm:pt modelId="{7CDB002A-925C-42AB-9CB2-73DA9DCE797E}">
      <dgm:prSet custT="1"/>
      <dgm:spPr>
        <a:solidFill>
          <a:srgbClr val="D8E7F8">
            <a:alpha val="90000"/>
          </a:srgbClr>
        </a:solidFill>
      </dgm:spPr>
      <dgm:t>
        <a:bodyPr/>
        <a:lstStyle/>
        <a:p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ậ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ượ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ự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hỉ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ạo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ý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ướ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dẫ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ị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hờ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ừ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ý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A</a:t>
          </a:r>
          <a:endParaRPr lang="en-US" sz="2000" b="0" i="0" dirty="0">
            <a:solidFill>
              <a:srgbClr val="000000"/>
            </a:solidFill>
            <a:effectLst/>
            <a:latin typeface="Segoe UI" panose="020B0502040204020203" pitchFamily="34" charset="0"/>
          </a:endParaRPr>
        </a:p>
      </dgm:t>
    </dgm:pt>
    <dgm:pt modelId="{00CA5DF0-ABFA-4614-ABBC-9913CB24D6A0}" type="parTrans" cxnId="{7CCDEF45-B0D6-452F-A432-F8E79D0370D4}">
      <dgm:prSet/>
      <dgm:spPr/>
      <dgm:t>
        <a:bodyPr/>
        <a:lstStyle/>
        <a:p>
          <a:endParaRPr lang="en-AU"/>
        </a:p>
      </dgm:t>
    </dgm:pt>
    <dgm:pt modelId="{3F4FA713-CA49-4D76-85A7-3BC921334FBD}" type="sibTrans" cxnId="{7CCDEF45-B0D6-452F-A432-F8E79D0370D4}">
      <dgm:prSet/>
      <dgm:spPr/>
      <dgm:t>
        <a:bodyPr/>
        <a:lstStyle/>
        <a:p>
          <a:endParaRPr lang="en-AU"/>
        </a:p>
      </dgm:t>
    </dgm:pt>
    <dgm:pt modelId="{1FCB3B68-F167-41CC-9F7D-E4563BBAB0C2}">
      <dgm:prSet phldrT="[Text]" custT="1"/>
      <dgm:spPr>
        <a:solidFill>
          <a:srgbClr val="D8E7F8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à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ơ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ộ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ể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CSYT chia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ẻ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inh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ghiệm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iể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a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ề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xuấ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o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uố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ể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â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ao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iệ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ộng</a:t>
          </a:r>
          <a:endParaRPr lang="en-AU" sz="2000" dirty="0"/>
        </a:p>
      </dgm:t>
    </dgm:pt>
    <dgm:pt modelId="{319D2C4B-7B9B-473B-A7DC-D999DDCFB44A}" type="parTrans" cxnId="{711E9572-A8E1-4079-A97E-86669D9BCE31}">
      <dgm:prSet/>
      <dgm:spPr/>
      <dgm:t>
        <a:bodyPr/>
        <a:lstStyle/>
        <a:p>
          <a:endParaRPr lang="en-AU"/>
        </a:p>
      </dgm:t>
    </dgm:pt>
    <dgm:pt modelId="{1E153F61-49D5-4B2A-A3E2-0D4BD1435A54}" type="sibTrans" cxnId="{711E9572-A8E1-4079-A97E-86669D9BCE31}">
      <dgm:prSet/>
      <dgm:spPr/>
      <dgm:t>
        <a:bodyPr/>
        <a:lstStyle/>
        <a:p>
          <a:endParaRPr lang="en-AU"/>
        </a:p>
      </dgm:t>
    </dgm:pt>
    <dgm:pt modelId="{76B8E0E5-34AC-444D-950E-C66690827AE1}">
      <dgm:prSet phldrT="[Text]" custT="1"/>
      <dgm:spPr>
        <a:solidFill>
          <a:srgbClr val="D8E7F8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Đảm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hất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lượng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tính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đồng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nhất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hoạt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động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lọc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giữa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CSYT</a:t>
          </a:r>
        </a:p>
      </dgm:t>
    </dgm:pt>
    <dgm:pt modelId="{7649A50A-3054-44AF-8A0C-EB6EAB85BD55}" type="sibTrans" cxnId="{028319D9-7EE5-46C9-AA95-E86D684C76DC}">
      <dgm:prSet/>
      <dgm:spPr/>
      <dgm:t>
        <a:bodyPr/>
        <a:lstStyle/>
        <a:p>
          <a:endParaRPr lang="en-AU"/>
        </a:p>
      </dgm:t>
    </dgm:pt>
    <dgm:pt modelId="{343995ED-6B06-4BE2-93B9-A82C01D0C684}" type="parTrans" cxnId="{028319D9-7EE5-46C9-AA95-E86D684C76DC}">
      <dgm:prSet/>
      <dgm:spPr/>
      <dgm:t>
        <a:bodyPr/>
        <a:lstStyle/>
        <a:p>
          <a:endParaRPr lang="en-AU"/>
        </a:p>
      </dgm:t>
    </dgm:pt>
    <dgm:pt modelId="{13578EB0-AD48-4F2C-9EA3-E4ACA692B314}">
      <dgm:prSet phldrT="[Text]" custT="1"/>
      <dgm:spPr>
        <a:solidFill>
          <a:srgbClr val="D8E7F8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ô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ụ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o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quả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ý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ố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iệ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ính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x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iệ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quả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75A2AF5-E098-4D59-84FC-6DD660BC720C}" type="sibTrans" cxnId="{BE957705-2FEC-4EA3-A08A-B71C9B2AC46A}">
      <dgm:prSet/>
      <dgm:spPr/>
      <dgm:t>
        <a:bodyPr/>
        <a:lstStyle/>
        <a:p>
          <a:endParaRPr lang="en-AU"/>
        </a:p>
      </dgm:t>
    </dgm:pt>
    <dgm:pt modelId="{AD6685DB-3FC0-443E-A7DC-FCC456D90440}" type="parTrans" cxnId="{BE957705-2FEC-4EA3-A08A-B71C9B2AC46A}">
      <dgm:prSet/>
      <dgm:spPr/>
      <dgm:t>
        <a:bodyPr/>
        <a:lstStyle/>
        <a:p>
          <a:endParaRPr lang="en-AU"/>
        </a:p>
      </dgm:t>
    </dgm:pt>
    <dgm:pt modelId="{BD770CD3-3652-41F2-BEFE-7D375F59DFAF}" type="pres">
      <dgm:prSet presAssocID="{9439422E-87C5-4FFB-B70A-E8906B6EC1FC}" presName="Name0" presStyleCnt="0">
        <dgm:presLayoutVars>
          <dgm:dir/>
          <dgm:animLvl val="lvl"/>
          <dgm:resizeHandles val="exact"/>
        </dgm:presLayoutVars>
      </dgm:prSet>
      <dgm:spPr/>
    </dgm:pt>
    <dgm:pt modelId="{D3BEC729-9C32-406F-844F-F50BDC3FD8BA}" type="pres">
      <dgm:prSet presAssocID="{B51EA91C-90CF-4C7F-B968-65CB3FEE6D8E}" presName="linNode" presStyleCnt="0"/>
      <dgm:spPr/>
    </dgm:pt>
    <dgm:pt modelId="{EFE7F98F-E9A6-429D-B3D1-45C304F193E2}" type="pres">
      <dgm:prSet presAssocID="{B51EA91C-90CF-4C7F-B968-65CB3FEE6D8E}" presName="parentText" presStyleLbl="node1" presStyleIdx="0" presStyleCnt="2" custScaleX="77517" custScaleY="83324">
        <dgm:presLayoutVars>
          <dgm:chMax val="1"/>
          <dgm:bulletEnabled val="1"/>
        </dgm:presLayoutVars>
      </dgm:prSet>
      <dgm:spPr/>
    </dgm:pt>
    <dgm:pt modelId="{DA5B7101-7FD4-4243-A209-D8B7DCA12A2F}" type="pres">
      <dgm:prSet presAssocID="{B51EA91C-90CF-4C7F-B968-65CB3FEE6D8E}" presName="descendantText" presStyleLbl="alignAccFollowNode1" presStyleIdx="0" presStyleCnt="2" custScaleY="83878">
        <dgm:presLayoutVars>
          <dgm:bulletEnabled val="1"/>
        </dgm:presLayoutVars>
      </dgm:prSet>
      <dgm:spPr/>
    </dgm:pt>
    <dgm:pt modelId="{48C1A357-5CBF-48F9-BCD9-E55AFDC51880}" type="pres">
      <dgm:prSet presAssocID="{9815CB0D-FC4B-4419-8953-6FC434822A0B}" presName="sp" presStyleCnt="0"/>
      <dgm:spPr/>
    </dgm:pt>
    <dgm:pt modelId="{AC2BD955-4F1D-4345-B1C7-F325FC7852B4}" type="pres">
      <dgm:prSet presAssocID="{5188F400-3743-4241-8491-E51392124F9B}" presName="linNode" presStyleCnt="0"/>
      <dgm:spPr/>
    </dgm:pt>
    <dgm:pt modelId="{92E20515-9A1F-4934-852D-2AFD3B9CA6CD}" type="pres">
      <dgm:prSet presAssocID="{5188F400-3743-4241-8491-E51392124F9B}" presName="parentText" presStyleLbl="node1" presStyleIdx="1" presStyleCnt="2" custScaleX="76736" custScaleY="78285">
        <dgm:presLayoutVars>
          <dgm:chMax val="1"/>
          <dgm:bulletEnabled val="1"/>
        </dgm:presLayoutVars>
      </dgm:prSet>
      <dgm:spPr/>
    </dgm:pt>
    <dgm:pt modelId="{5DD5B918-B151-4625-8367-7ECA7EDBBA14}" type="pres">
      <dgm:prSet presAssocID="{5188F400-3743-4241-8491-E51392124F9B}" presName="descendantText" presStyleLbl="alignAccFollowNode1" presStyleIdx="1" presStyleCnt="2" custScaleY="77159">
        <dgm:presLayoutVars>
          <dgm:bulletEnabled val="1"/>
        </dgm:presLayoutVars>
      </dgm:prSet>
      <dgm:spPr/>
    </dgm:pt>
  </dgm:ptLst>
  <dgm:cxnLst>
    <dgm:cxn modelId="{BE957705-2FEC-4EA3-A08A-B71C9B2AC46A}" srcId="{B51EA91C-90CF-4C7F-B968-65CB3FEE6D8E}" destId="{13578EB0-AD48-4F2C-9EA3-E4ACA692B314}" srcOrd="2" destOrd="0" parTransId="{AD6685DB-3FC0-443E-A7DC-FCC456D90440}" sibTransId="{475A2AF5-E098-4D59-84FC-6DD660BC720C}"/>
    <dgm:cxn modelId="{DBE2AB15-9F3F-481D-8718-5CD4729B69F0}" type="presOf" srcId="{7CDB002A-925C-42AB-9CB2-73DA9DCE797E}" destId="{5DD5B918-B151-4625-8367-7ECA7EDBBA14}" srcOrd="0" destOrd="2" presId="urn:microsoft.com/office/officeart/2005/8/layout/vList5"/>
    <dgm:cxn modelId="{EE0B1C24-DB9E-402F-A897-00EE3A3F7D8B}" type="presOf" srcId="{9439422E-87C5-4FFB-B70A-E8906B6EC1FC}" destId="{BD770CD3-3652-41F2-BEFE-7D375F59DFAF}" srcOrd="0" destOrd="0" presId="urn:microsoft.com/office/officeart/2005/8/layout/vList5"/>
    <dgm:cxn modelId="{4D15912B-7F8F-45EB-94CD-71B2079AD94E}" type="presOf" srcId="{14F35D95-D860-43A8-961E-F4A6B9272892}" destId="{5DD5B918-B151-4625-8367-7ECA7EDBBA14}" srcOrd="0" destOrd="0" presId="urn:microsoft.com/office/officeart/2005/8/layout/vList5"/>
    <dgm:cxn modelId="{8B10992C-6125-4E6E-989A-F2A66D9C1FAB}" srcId="{9439422E-87C5-4FFB-B70A-E8906B6EC1FC}" destId="{5188F400-3743-4241-8491-E51392124F9B}" srcOrd="1" destOrd="0" parTransId="{9091E014-3C89-4A17-B0F8-848A4ABF275C}" sibTransId="{8E8D57EC-EA17-43BA-B957-9544417FFCE0}"/>
    <dgm:cxn modelId="{84E68130-58AC-44FE-B142-6DAF5C5184AA}" type="presOf" srcId="{5188F400-3743-4241-8491-E51392124F9B}" destId="{92E20515-9A1F-4934-852D-2AFD3B9CA6CD}" srcOrd="0" destOrd="0" presId="urn:microsoft.com/office/officeart/2005/8/layout/vList5"/>
    <dgm:cxn modelId="{7CCDEF45-B0D6-452F-A432-F8E79D0370D4}" srcId="{5188F400-3743-4241-8491-E51392124F9B}" destId="{7CDB002A-925C-42AB-9CB2-73DA9DCE797E}" srcOrd="2" destOrd="0" parTransId="{00CA5DF0-ABFA-4614-ABBC-9913CB24D6A0}" sibTransId="{3F4FA713-CA49-4D76-85A7-3BC921334FBD}"/>
    <dgm:cxn modelId="{AA273869-BD17-46BC-86B4-F613294816D4}" type="presOf" srcId="{76B8E0E5-34AC-444D-950E-C66690827AE1}" destId="{DA5B7101-7FD4-4243-A209-D8B7DCA12A2F}" srcOrd="0" destOrd="1" presId="urn:microsoft.com/office/officeart/2005/8/layout/vList5"/>
    <dgm:cxn modelId="{79E0E34D-8901-48C6-8E0D-CE58A2EA38A1}" type="presOf" srcId="{C42109DE-019C-4661-8A0F-70CB4E8146B1}" destId="{DA5B7101-7FD4-4243-A209-D8B7DCA12A2F}" srcOrd="0" destOrd="0" presId="urn:microsoft.com/office/officeart/2005/8/layout/vList5"/>
    <dgm:cxn modelId="{711E9572-A8E1-4079-A97E-86669D9BCE31}" srcId="{5188F400-3743-4241-8491-E51392124F9B}" destId="{1FCB3B68-F167-41CC-9F7D-E4563BBAB0C2}" srcOrd="1" destOrd="0" parTransId="{319D2C4B-7B9B-473B-A7DC-D999DDCFB44A}" sibTransId="{1E153F61-49D5-4B2A-A3E2-0D4BD1435A54}"/>
    <dgm:cxn modelId="{DACAC652-3BF7-4550-BDF3-F9E60955A4A5}" type="presOf" srcId="{1FCB3B68-F167-41CC-9F7D-E4563BBAB0C2}" destId="{5DD5B918-B151-4625-8367-7ECA7EDBBA14}" srcOrd="0" destOrd="1" presId="urn:microsoft.com/office/officeart/2005/8/layout/vList5"/>
    <dgm:cxn modelId="{9150DB88-0253-48C5-A164-E7569749EA40}" type="presOf" srcId="{13578EB0-AD48-4F2C-9EA3-E4ACA692B314}" destId="{DA5B7101-7FD4-4243-A209-D8B7DCA12A2F}" srcOrd="0" destOrd="2" presId="urn:microsoft.com/office/officeart/2005/8/layout/vList5"/>
    <dgm:cxn modelId="{2374889B-6DDC-4433-8789-DEF054BB9346}" srcId="{5188F400-3743-4241-8491-E51392124F9B}" destId="{14F35D95-D860-43A8-961E-F4A6B9272892}" srcOrd="0" destOrd="0" parTransId="{87DE95B1-2A82-4E24-9C91-75B21E8A820A}" sibTransId="{03C0BCA5-7153-4EF4-AF04-3794E5020637}"/>
    <dgm:cxn modelId="{A730E8A6-C8A9-4F63-82D1-1F73AB5FF42A}" type="presOf" srcId="{B51EA91C-90CF-4C7F-B968-65CB3FEE6D8E}" destId="{EFE7F98F-E9A6-429D-B3D1-45C304F193E2}" srcOrd="0" destOrd="0" presId="urn:microsoft.com/office/officeart/2005/8/layout/vList5"/>
    <dgm:cxn modelId="{3FAD77D7-4BA4-41B8-AC44-BAED9849F11B}" srcId="{9439422E-87C5-4FFB-B70A-E8906B6EC1FC}" destId="{B51EA91C-90CF-4C7F-B968-65CB3FEE6D8E}" srcOrd="0" destOrd="0" parTransId="{05483AE2-0E56-4300-BF8C-0326060407DE}" sibTransId="{9815CB0D-FC4B-4419-8953-6FC434822A0B}"/>
    <dgm:cxn modelId="{028319D9-7EE5-46C9-AA95-E86D684C76DC}" srcId="{B51EA91C-90CF-4C7F-B968-65CB3FEE6D8E}" destId="{76B8E0E5-34AC-444D-950E-C66690827AE1}" srcOrd="1" destOrd="0" parTransId="{343995ED-6B06-4BE2-93B9-A82C01D0C684}" sibTransId="{7649A50A-3054-44AF-8A0C-EB6EAB85BD55}"/>
    <dgm:cxn modelId="{3865BEFB-661F-4520-97E4-AC45291E4AA5}" srcId="{B51EA91C-90CF-4C7F-B968-65CB3FEE6D8E}" destId="{C42109DE-019C-4661-8A0F-70CB4E8146B1}" srcOrd="0" destOrd="0" parTransId="{7CD217EF-C7BD-478E-A69E-E88E29CC287E}" sibTransId="{1A473C72-2127-4787-BCEF-CA2F667F19FE}"/>
    <dgm:cxn modelId="{F730BD63-3AAE-4410-9D0D-24D70F2E9FE7}" type="presParOf" srcId="{BD770CD3-3652-41F2-BEFE-7D375F59DFAF}" destId="{D3BEC729-9C32-406F-844F-F50BDC3FD8BA}" srcOrd="0" destOrd="0" presId="urn:microsoft.com/office/officeart/2005/8/layout/vList5"/>
    <dgm:cxn modelId="{8ACF9772-0EAF-45AA-895F-B0198EFE3958}" type="presParOf" srcId="{D3BEC729-9C32-406F-844F-F50BDC3FD8BA}" destId="{EFE7F98F-E9A6-429D-B3D1-45C304F193E2}" srcOrd="0" destOrd="0" presId="urn:microsoft.com/office/officeart/2005/8/layout/vList5"/>
    <dgm:cxn modelId="{D7EE0512-707F-47E1-B7B9-9F75BD0D3F67}" type="presParOf" srcId="{D3BEC729-9C32-406F-844F-F50BDC3FD8BA}" destId="{DA5B7101-7FD4-4243-A209-D8B7DCA12A2F}" srcOrd="1" destOrd="0" presId="urn:microsoft.com/office/officeart/2005/8/layout/vList5"/>
    <dgm:cxn modelId="{4DFC1B0C-0602-4CC7-8E23-F731EFF5975E}" type="presParOf" srcId="{BD770CD3-3652-41F2-BEFE-7D375F59DFAF}" destId="{48C1A357-5CBF-48F9-BCD9-E55AFDC51880}" srcOrd="1" destOrd="0" presId="urn:microsoft.com/office/officeart/2005/8/layout/vList5"/>
    <dgm:cxn modelId="{C62BF930-74BE-4EEC-9818-89C148247B08}" type="presParOf" srcId="{BD770CD3-3652-41F2-BEFE-7D375F59DFAF}" destId="{AC2BD955-4F1D-4345-B1C7-F325FC7852B4}" srcOrd="2" destOrd="0" presId="urn:microsoft.com/office/officeart/2005/8/layout/vList5"/>
    <dgm:cxn modelId="{FA39E449-950C-45F9-8647-44696236FA16}" type="presParOf" srcId="{AC2BD955-4F1D-4345-B1C7-F325FC7852B4}" destId="{92E20515-9A1F-4934-852D-2AFD3B9CA6CD}" srcOrd="0" destOrd="0" presId="urn:microsoft.com/office/officeart/2005/8/layout/vList5"/>
    <dgm:cxn modelId="{8230B77A-B638-4C81-8228-32D5BE3C1C97}" type="presParOf" srcId="{AC2BD955-4F1D-4345-B1C7-F325FC7852B4}" destId="{5DD5B918-B151-4625-8367-7ECA7EDBBA1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51ACE03D-EC50-49F4-B78C-51D63BAA4AE3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2C314F27-6E5D-4447-9309-C06F33EF9F38}">
      <dgm:prSet phldrT="[Text]" custT="1"/>
      <dgm:spPr>
        <a:solidFill>
          <a:srgbClr val="F0DCC8"/>
        </a:solidFill>
      </dgm:spPr>
      <dgm:t>
        <a:bodyPr/>
        <a:lstStyle/>
        <a:p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3</a:t>
          </a:r>
          <a:r>
            <a:rPr lang="en-US" sz="2400" b="0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: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ết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ối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Zalo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ung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ỗ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ợ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24/7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ho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CSYT</a:t>
          </a:r>
          <a:endParaRPr lang="en-AU" sz="2400" dirty="0"/>
        </a:p>
      </dgm:t>
    </dgm:pt>
    <dgm:pt modelId="{A05AD2D9-DC25-4DE7-A467-FDCB5655D451}" type="parTrans" cxnId="{9079AF94-1D94-453D-B609-1466D1840D69}">
      <dgm:prSet/>
      <dgm:spPr/>
      <dgm:t>
        <a:bodyPr/>
        <a:lstStyle/>
        <a:p>
          <a:endParaRPr lang="en-AU"/>
        </a:p>
      </dgm:t>
    </dgm:pt>
    <dgm:pt modelId="{87B9437D-DFF4-4FDE-92F7-75E9C0AAC0C2}" type="sibTrans" cxnId="{9079AF94-1D94-453D-B609-1466D1840D69}">
      <dgm:prSet/>
      <dgm:spPr/>
      <dgm:t>
        <a:bodyPr/>
        <a:lstStyle/>
        <a:p>
          <a:endParaRPr lang="en-AU"/>
        </a:p>
      </dgm:t>
    </dgm:pt>
    <dgm:pt modelId="{DBBD10E1-B48E-4DCD-8E1D-01B7C7204149}">
      <dgm:prSet phldrT="[Text]" custT="1"/>
      <dgm:spPr>
        <a:solidFill>
          <a:srgbClr val="FFE6AF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24/7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âm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gia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BV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ổ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TƯ, BV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ổ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à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ội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C654DE-A14D-4C35-9060-F5ABB9C132CB}" type="parTrans" cxnId="{7AD052D8-E314-4193-88AC-C880B2CA8948}">
      <dgm:prSet/>
      <dgm:spPr/>
      <dgm:t>
        <a:bodyPr/>
        <a:lstStyle/>
        <a:p>
          <a:endParaRPr lang="en-AU"/>
        </a:p>
      </dgm:t>
    </dgm:pt>
    <dgm:pt modelId="{A42EE5A0-DB0F-495B-BD38-FB2F2ADAE5D5}" type="sibTrans" cxnId="{7AD052D8-E314-4193-88AC-C880B2CA8948}">
      <dgm:prSet/>
      <dgm:spPr/>
      <dgm:t>
        <a:bodyPr/>
        <a:lstStyle/>
        <a:p>
          <a:endParaRPr lang="en-AU"/>
        </a:p>
      </dgm:t>
    </dgm:pt>
    <dgm:pt modelId="{E6ABE064-729B-4D9F-A20A-4616EB25EFDF}">
      <dgm:prSet phldrT="[Text]" custT="1"/>
      <dgm:spPr>
        <a:solidFill>
          <a:srgbClr val="F0DCC8"/>
        </a:solidFill>
      </dgm:spPr>
      <dgm:t>
        <a:bodyPr/>
        <a:lstStyle/>
        <a:p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4: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ảo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át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u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ầu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&amp;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inh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ong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phát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test &amp;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ật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ư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iêu</a:t>
          </a:r>
          <a:r>
            <a:rPr lang="en-US" sz="2400" b="1" i="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ao</a:t>
          </a:r>
          <a:endParaRPr lang="en-AU" sz="2400" dirty="0"/>
        </a:p>
      </dgm:t>
    </dgm:pt>
    <dgm:pt modelId="{1AA2C47B-C390-463C-9D3B-2D6BEA9462BF}" type="parTrans" cxnId="{58436689-EAD5-42E8-B0E8-B9A8B6AEC82A}">
      <dgm:prSet/>
      <dgm:spPr/>
      <dgm:t>
        <a:bodyPr/>
        <a:lstStyle/>
        <a:p>
          <a:endParaRPr lang="en-AU"/>
        </a:p>
      </dgm:t>
    </dgm:pt>
    <dgm:pt modelId="{8989B58C-6316-4420-B38B-12E301C492A5}" type="sibTrans" cxnId="{58436689-EAD5-42E8-B0E8-B9A8B6AEC82A}">
      <dgm:prSet/>
      <dgm:spPr/>
      <dgm:t>
        <a:bodyPr/>
        <a:lstStyle/>
        <a:p>
          <a:endParaRPr lang="en-AU"/>
        </a:p>
      </dgm:t>
    </dgm:pt>
    <dgm:pt modelId="{7725DA7C-A0C8-4481-951A-AB5879B3B042}">
      <dgm:prSet phldrT="[Text]" custT="1"/>
      <dgm:spPr>
        <a:solidFill>
          <a:srgbClr val="FFE6AF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Khảo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á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iê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ao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để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ấ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ù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ử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dụ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ánh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ãng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í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D408D1A-3DB5-4CBD-8A1F-9CB7E3AF1384}" type="parTrans" cxnId="{EE33E652-C072-4F80-83A1-916408DA0541}">
      <dgm:prSet/>
      <dgm:spPr/>
      <dgm:t>
        <a:bodyPr/>
        <a:lstStyle/>
        <a:p>
          <a:endParaRPr lang="en-AU"/>
        </a:p>
      </dgm:t>
    </dgm:pt>
    <dgm:pt modelId="{743A4A3B-A0F1-4C4B-A1BF-CEC74A575214}" type="sibTrans" cxnId="{EE33E652-C072-4F80-83A1-916408DA0541}">
      <dgm:prSet/>
      <dgm:spPr/>
      <dgm:t>
        <a:bodyPr/>
        <a:lstStyle/>
        <a:p>
          <a:endParaRPr lang="en-AU"/>
        </a:p>
      </dgm:t>
    </dgm:pt>
    <dgm:pt modelId="{C499B1C8-BD99-4639-BF36-2ABD7624DE1B}">
      <dgm:prSet custT="1"/>
      <dgm:spPr>
        <a:solidFill>
          <a:srgbClr val="FFE6AF">
            <a:alpha val="90000"/>
          </a:srgbClr>
        </a:solidFill>
      </dgm:spPr>
      <dgm:t>
        <a:bodyPr/>
        <a:lstStyle/>
        <a:p>
          <a:endParaRPr lang="en-US" sz="1800" b="0" i="0" dirty="0">
            <a:solidFill>
              <a:srgbClr val="00000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A429F9E-6889-448C-8C5C-C658AA116D32}" type="parTrans" cxnId="{825495A1-474A-4D65-A66D-4C5D28925F9B}">
      <dgm:prSet/>
      <dgm:spPr/>
      <dgm:t>
        <a:bodyPr/>
        <a:lstStyle/>
        <a:p>
          <a:endParaRPr lang="en-AU"/>
        </a:p>
      </dgm:t>
    </dgm:pt>
    <dgm:pt modelId="{2D85ECB0-9AF2-4B53-B615-9B2EEEA3ADFE}" type="sibTrans" cxnId="{825495A1-474A-4D65-A66D-4C5D28925F9B}">
      <dgm:prSet/>
      <dgm:spPr/>
      <dgm:t>
        <a:bodyPr/>
        <a:lstStyle/>
        <a:p>
          <a:endParaRPr lang="en-AU"/>
        </a:p>
      </dgm:t>
    </dgm:pt>
    <dgm:pt modelId="{632CEE2D-998B-403B-9CBB-99270712A6B6}">
      <dgm:prSet phldrT="[Text]" custT="1"/>
      <dgm:spPr>
        <a:solidFill>
          <a:srgbClr val="FFE6AF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ấp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test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theo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khả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năng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CSYT (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nhờ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phần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dirty="0" err="1">
              <a:latin typeface="Calibri" panose="020F0502020204030204" pitchFamily="34" charset="0"/>
              <a:cs typeface="Calibri" panose="020F0502020204030204" pitchFamily="34" charset="0"/>
            </a:rPr>
            <a:t>mềm</a:t>
          </a:r>
          <a:r>
            <a:rPr lang="en-AU" sz="2000" dirty="0">
              <a:latin typeface="Calibri" panose="020F0502020204030204" pitchFamily="34" charset="0"/>
              <a:cs typeface="Calibri" panose="020F0502020204030204" pitchFamily="34" charset="0"/>
            </a:rPr>
            <a:t> TBCOVID)</a:t>
          </a:r>
        </a:p>
      </dgm:t>
    </dgm:pt>
    <dgm:pt modelId="{E86A381F-CD97-44A7-9535-F4FBE17DF10D}" type="parTrans" cxnId="{35D5A436-6213-454E-8A54-F9625444C9B8}">
      <dgm:prSet/>
      <dgm:spPr/>
      <dgm:t>
        <a:bodyPr/>
        <a:lstStyle/>
        <a:p>
          <a:endParaRPr lang="en-AU"/>
        </a:p>
      </dgm:t>
    </dgm:pt>
    <dgm:pt modelId="{B181F82A-ABEF-4940-8F6C-BEAB5547E580}" type="sibTrans" cxnId="{35D5A436-6213-454E-8A54-F9625444C9B8}">
      <dgm:prSet/>
      <dgm:spPr/>
      <dgm:t>
        <a:bodyPr/>
        <a:lstStyle/>
        <a:p>
          <a:endParaRPr lang="en-AU"/>
        </a:p>
      </dgm:t>
    </dgm:pt>
    <dgm:pt modelId="{9F62F215-9FE9-4083-A1A6-076AE6655187}">
      <dgm:prSet phldrT="[Text]" custT="1"/>
      <dgm:spPr>
        <a:solidFill>
          <a:srgbClr val="FFE6AF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ầ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mềm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gia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echUp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BB088EF-DDC9-459B-B58C-2EC4F1F71732}" type="parTrans" cxnId="{37916265-9976-4119-9BA1-43ECE9253FD7}">
      <dgm:prSet/>
      <dgm:spPr/>
      <dgm:t>
        <a:bodyPr/>
        <a:lstStyle/>
        <a:p>
          <a:endParaRPr lang="en-AU"/>
        </a:p>
      </dgm:t>
    </dgm:pt>
    <dgm:pt modelId="{3A6A49D8-A3EE-4153-ABB6-FF0AEA42F01D}" type="sibTrans" cxnId="{37916265-9976-4119-9BA1-43ECE9253FD7}">
      <dgm:prSet/>
      <dgm:spPr/>
      <dgm:t>
        <a:bodyPr/>
        <a:lstStyle/>
        <a:p>
          <a:endParaRPr lang="en-AU"/>
        </a:p>
      </dgm:t>
    </dgm:pt>
    <dgm:pt modelId="{F0310F1C-253D-46B6-AEB9-E0AD008F612F}">
      <dgm:prSet phldrT="[Text]" custT="1"/>
      <dgm:spPr>
        <a:solidFill>
          <a:srgbClr val="FFE6AF">
            <a:alpha val="90000"/>
          </a:srgb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hiết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kh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b="0" i="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DA </a:t>
          </a:r>
          <a:endParaRPr lang="en-AU" sz="20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F745FD2-D345-4DBF-95BD-702D88C16C76}" type="parTrans" cxnId="{DC4E1401-C1FE-4022-8BD3-464B40781E13}">
      <dgm:prSet/>
      <dgm:spPr/>
      <dgm:t>
        <a:bodyPr/>
        <a:lstStyle/>
        <a:p>
          <a:endParaRPr lang="en-AU"/>
        </a:p>
      </dgm:t>
    </dgm:pt>
    <dgm:pt modelId="{38AAEFBD-D085-4110-AEC3-BD54A1FAE3BC}" type="sibTrans" cxnId="{DC4E1401-C1FE-4022-8BD3-464B40781E13}">
      <dgm:prSet/>
      <dgm:spPr/>
      <dgm:t>
        <a:bodyPr/>
        <a:lstStyle/>
        <a:p>
          <a:endParaRPr lang="en-AU"/>
        </a:p>
      </dgm:t>
    </dgm:pt>
    <dgm:pt modelId="{8DB11D66-ADC3-4233-80DA-1B2971FDEDD9}" type="pres">
      <dgm:prSet presAssocID="{51ACE03D-EC50-49F4-B78C-51D63BAA4AE3}" presName="Name0" presStyleCnt="0">
        <dgm:presLayoutVars>
          <dgm:dir/>
          <dgm:animLvl val="lvl"/>
          <dgm:resizeHandles val="exact"/>
        </dgm:presLayoutVars>
      </dgm:prSet>
      <dgm:spPr/>
    </dgm:pt>
    <dgm:pt modelId="{1ED56E00-1C34-446D-8FBE-A45889726C61}" type="pres">
      <dgm:prSet presAssocID="{2C314F27-6E5D-4447-9309-C06F33EF9F38}" presName="linNode" presStyleCnt="0"/>
      <dgm:spPr/>
    </dgm:pt>
    <dgm:pt modelId="{BFFDE97E-A90D-4280-A7FA-400F13C65E43}" type="pres">
      <dgm:prSet presAssocID="{2C314F27-6E5D-4447-9309-C06F33EF9F38}" presName="parentText" presStyleLbl="node1" presStyleIdx="0" presStyleCnt="2" custScaleX="86868">
        <dgm:presLayoutVars>
          <dgm:chMax val="1"/>
          <dgm:bulletEnabled val="1"/>
        </dgm:presLayoutVars>
      </dgm:prSet>
      <dgm:spPr/>
    </dgm:pt>
    <dgm:pt modelId="{B6823791-95D4-4954-8CAF-DD342AB657BB}" type="pres">
      <dgm:prSet presAssocID="{2C314F27-6E5D-4447-9309-C06F33EF9F38}" presName="descendantText" presStyleLbl="alignAccFollowNode1" presStyleIdx="0" presStyleCnt="2">
        <dgm:presLayoutVars>
          <dgm:bulletEnabled val="1"/>
        </dgm:presLayoutVars>
      </dgm:prSet>
      <dgm:spPr/>
    </dgm:pt>
    <dgm:pt modelId="{4A28AD9A-66B2-44D2-808F-538FF2CF1EC2}" type="pres">
      <dgm:prSet presAssocID="{87B9437D-DFF4-4FDE-92F7-75E9C0AAC0C2}" presName="sp" presStyleCnt="0"/>
      <dgm:spPr/>
    </dgm:pt>
    <dgm:pt modelId="{0C8DA0E9-5CE9-4A6A-8FB5-F8AA4A671CDD}" type="pres">
      <dgm:prSet presAssocID="{E6ABE064-729B-4D9F-A20A-4616EB25EFDF}" presName="linNode" presStyleCnt="0"/>
      <dgm:spPr/>
    </dgm:pt>
    <dgm:pt modelId="{D2CBF05B-AA10-4505-B3F0-11A9FD6E4CF4}" type="pres">
      <dgm:prSet presAssocID="{E6ABE064-729B-4D9F-A20A-4616EB25EFDF}" presName="parentText" presStyleLbl="node1" presStyleIdx="1" presStyleCnt="2" custScaleX="86899">
        <dgm:presLayoutVars>
          <dgm:chMax val="1"/>
          <dgm:bulletEnabled val="1"/>
        </dgm:presLayoutVars>
      </dgm:prSet>
      <dgm:spPr/>
    </dgm:pt>
    <dgm:pt modelId="{D4144979-68CA-437E-B51D-245C87F66AD0}" type="pres">
      <dgm:prSet presAssocID="{E6ABE064-729B-4D9F-A20A-4616EB25EFDF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DC4E1401-C1FE-4022-8BD3-464B40781E13}" srcId="{2C314F27-6E5D-4447-9309-C06F33EF9F38}" destId="{F0310F1C-253D-46B6-AEB9-E0AD008F612F}" srcOrd="2" destOrd="0" parTransId="{DF745FD2-D345-4DBF-95BD-702D88C16C76}" sibTransId="{38AAEFBD-D085-4110-AEC3-BD54A1FAE3BC}"/>
    <dgm:cxn modelId="{EA558620-6FB5-44B4-8AEB-743A840E1F86}" type="presOf" srcId="{C499B1C8-BD99-4639-BF36-2ABD7624DE1B}" destId="{D4144979-68CA-437E-B51D-245C87F66AD0}" srcOrd="0" destOrd="2" presId="urn:microsoft.com/office/officeart/2005/8/layout/vList5"/>
    <dgm:cxn modelId="{35D5A436-6213-454E-8A54-F9625444C9B8}" srcId="{E6ABE064-729B-4D9F-A20A-4616EB25EFDF}" destId="{632CEE2D-998B-403B-9CBB-99270712A6B6}" srcOrd="1" destOrd="0" parTransId="{E86A381F-CD97-44A7-9535-F4FBE17DF10D}" sibTransId="{B181F82A-ABEF-4940-8F6C-BEAB5547E580}"/>
    <dgm:cxn modelId="{96ABE23C-0F1E-4764-BC33-1A64F8025F11}" type="presOf" srcId="{DBBD10E1-B48E-4DCD-8E1D-01B7C7204149}" destId="{B6823791-95D4-4954-8CAF-DD342AB657BB}" srcOrd="0" destOrd="0" presId="urn:microsoft.com/office/officeart/2005/8/layout/vList5"/>
    <dgm:cxn modelId="{37916265-9976-4119-9BA1-43ECE9253FD7}" srcId="{2C314F27-6E5D-4447-9309-C06F33EF9F38}" destId="{9F62F215-9FE9-4083-A1A6-076AE6655187}" srcOrd="1" destOrd="0" parTransId="{DBB088EF-DDC9-459B-B58C-2EC4F1F71732}" sibTransId="{3A6A49D8-A3EE-4153-ABB6-FF0AEA42F01D}"/>
    <dgm:cxn modelId="{EE33E652-C072-4F80-83A1-916408DA0541}" srcId="{E6ABE064-729B-4D9F-A20A-4616EB25EFDF}" destId="{7725DA7C-A0C8-4481-951A-AB5879B3B042}" srcOrd="0" destOrd="0" parTransId="{ED408D1A-3DB5-4CBD-8A1F-9CB7E3AF1384}" sibTransId="{743A4A3B-A0F1-4C4B-A1BF-CEC74A575214}"/>
    <dgm:cxn modelId="{916B3D55-7CBF-47ED-8818-EE516163F595}" type="presOf" srcId="{632CEE2D-998B-403B-9CBB-99270712A6B6}" destId="{D4144979-68CA-437E-B51D-245C87F66AD0}" srcOrd="0" destOrd="1" presId="urn:microsoft.com/office/officeart/2005/8/layout/vList5"/>
    <dgm:cxn modelId="{58436689-EAD5-42E8-B0E8-B9A8B6AEC82A}" srcId="{51ACE03D-EC50-49F4-B78C-51D63BAA4AE3}" destId="{E6ABE064-729B-4D9F-A20A-4616EB25EFDF}" srcOrd="1" destOrd="0" parTransId="{1AA2C47B-C390-463C-9D3B-2D6BEA9462BF}" sibTransId="{8989B58C-6316-4420-B38B-12E301C492A5}"/>
    <dgm:cxn modelId="{F64A4F8E-BE4E-4890-B9DE-74F0CBF08187}" type="presOf" srcId="{9F62F215-9FE9-4083-A1A6-076AE6655187}" destId="{B6823791-95D4-4954-8CAF-DD342AB657BB}" srcOrd="0" destOrd="1" presId="urn:microsoft.com/office/officeart/2005/8/layout/vList5"/>
    <dgm:cxn modelId="{C9E60C94-B591-4354-8A76-55691A64ABF8}" type="presOf" srcId="{51ACE03D-EC50-49F4-B78C-51D63BAA4AE3}" destId="{8DB11D66-ADC3-4233-80DA-1B2971FDEDD9}" srcOrd="0" destOrd="0" presId="urn:microsoft.com/office/officeart/2005/8/layout/vList5"/>
    <dgm:cxn modelId="{9079AF94-1D94-453D-B609-1466D1840D69}" srcId="{51ACE03D-EC50-49F4-B78C-51D63BAA4AE3}" destId="{2C314F27-6E5D-4447-9309-C06F33EF9F38}" srcOrd="0" destOrd="0" parTransId="{A05AD2D9-DC25-4DE7-A467-FDCB5655D451}" sibTransId="{87B9437D-DFF4-4FDE-92F7-75E9C0AAC0C2}"/>
    <dgm:cxn modelId="{825495A1-474A-4D65-A66D-4C5D28925F9B}" srcId="{E6ABE064-729B-4D9F-A20A-4616EB25EFDF}" destId="{C499B1C8-BD99-4639-BF36-2ABD7624DE1B}" srcOrd="2" destOrd="0" parTransId="{BA429F9E-6889-448C-8C5C-C658AA116D32}" sibTransId="{2D85ECB0-9AF2-4B53-B615-9B2EEEA3ADFE}"/>
    <dgm:cxn modelId="{FB7DDFAE-1156-4FB8-B466-E95014E5A069}" type="presOf" srcId="{7725DA7C-A0C8-4481-951A-AB5879B3B042}" destId="{D4144979-68CA-437E-B51D-245C87F66AD0}" srcOrd="0" destOrd="0" presId="urn:microsoft.com/office/officeart/2005/8/layout/vList5"/>
    <dgm:cxn modelId="{B6F380BD-0674-4919-BFF1-32CD34209450}" type="presOf" srcId="{F0310F1C-253D-46B6-AEB9-E0AD008F612F}" destId="{B6823791-95D4-4954-8CAF-DD342AB657BB}" srcOrd="0" destOrd="2" presId="urn:microsoft.com/office/officeart/2005/8/layout/vList5"/>
    <dgm:cxn modelId="{BDFD12D1-5CB9-4F6D-812A-CE5B26CA9B6B}" type="presOf" srcId="{E6ABE064-729B-4D9F-A20A-4616EB25EFDF}" destId="{D2CBF05B-AA10-4505-B3F0-11A9FD6E4CF4}" srcOrd="0" destOrd="0" presId="urn:microsoft.com/office/officeart/2005/8/layout/vList5"/>
    <dgm:cxn modelId="{BAD728D5-B703-4EC0-BDF4-07DD70BCB350}" type="presOf" srcId="{2C314F27-6E5D-4447-9309-C06F33EF9F38}" destId="{BFFDE97E-A90D-4280-A7FA-400F13C65E43}" srcOrd="0" destOrd="0" presId="urn:microsoft.com/office/officeart/2005/8/layout/vList5"/>
    <dgm:cxn modelId="{7AD052D8-E314-4193-88AC-C880B2CA8948}" srcId="{2C314F27-6E5D-4447-9309-C06F33EF9F38}" destId="{DBBD10E1-B48E-4DCD-8E1D-01B7C7204149}" srcOrd="0" destOrd="0" parTransId="{3DC654DE-A14D-4C35-9060-F5ABB9C132CB}" sibTransId="{A42EE5A0-DB0F-495B-BD38-FB2F2ADAE5D5}"/>
    <dgm:cxn modelId="{3DBEA151-CA70-4245-9BDC-901154AF8E94}" type="presParOf" srcId="{8DB11D66-ADC3-4233-80DA-1B2971FDEDD9}" destId="{1ED56E00-1C34-446D-8FBE-A45889726C61}" srcOrd="0" destOrd="0" presId="urn:microsoft.com/office/officeart/2005/8/layout/vList5"/>
    <dgm:cxn modelId="{E8D9CCDB-412C-4B19-B06D-78AFEA370361}" type="presParOf" srcId="{1ED56E00-1C34-446D-8FBE-A45889726C61}" destId="{BFFDE97E-A90D-4280-A7FA-400F13C65E43}" srcOrd="0" destOrd="0" presId="urn:microsoft.com/office/officeart/2005/8/layout/vList5"/>
    <dgm:cxn modelId="{623DDD6D-9DE8-4FFE-9017-13E8538AF415}" type="presParOf" srcId="{1ED56E00-1C34-446D-8FBE-A45889726C61}" destId="{B6823791-95D4-4954-8CAF-DD342AB657BB}" srcOrd="1" destOrd="0" presId="urn:microsoft.com/office/officeart/2005/8/layout/vList5"/>
    <dgm:cxn modelId="{2713333B-29A0-4B7C-8946-909236D8FAC3}" type="presParOf" srcId="{8DB11D66-ADC3-4233-80DA-1B2971FDEDD9}" destId="{4A28AD9A-66B2-44D2-808F-538FF2CF1EC2}" srcOrd="1" destOrd="0" presId="urn:microsoft.com/office/officeart/2005/8/layout/vList5"/>
    <dgm:cxn modelId="{B02323B6-5016-4EE9-9391-0FA5CABE65AF}" type="presParOf" srcId="{8DB11D66-ADC3-4233-80DA-1B2971FDEDD9}" destId="{0C8DA0E9-5CE9-4A6A-8FB5-F8AA4A671CDD}" srcOrd="2" destOrd="0" presId="urn:microsoft.com/office/officeart/2005/8/layout/vList5"/>
    <dgm:cxn modelId="{9AFE59F0-F604-4D97-A513-9A9C0726AADF}" type="presParOf" srcId="{0C8DA0E9-5CE9-4A6A-8FB5-F8AA4A671CDD}" destId="{D2CBF05B-AA10-4505-B3F0-11A9FD6E4CF4}" srcOrd="0" destOrd="0" presId="urn:microsoft.com/office/officeart/2005/8/layout/vList5"/>
    <dgm:cxn modelId="{3192980F-6985-4E49-B2C2-616428BDDD01}" type="presParOf" srcId="{0C8DA0E9-5CE9-4A6A-8FB5-F8AA4A671CDD}" destId="{D4144979-68CA-437E-B51D-245C87F66AD0}" srcOrd="1" destOrd="0" presId="urn:microsoft.com/office/officeart/2005/8/layout/vList5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B323FE-1F86-49F2-B6A9-605FF21302F2}">
      <dsp:nvSpPr>
        <dsp:cNvPr id="0" name=""/>
        <dsp:cNvSpPr/>
      </dsp:nvSpPr>
      <dsp:spPr>
        <a:xfrm rot="10800000">
          <a:off x="2035227" y="1293"/>
          <a:ext cx="7142062" cy="94514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783" tIns="91440" rIns="170688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Giới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u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hung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10800000">
        <a:off x="2271513" y="1293"/>
        <a:ext cx="6905776" cy="945146"/>
      </dsp:txXfrm>
    </dsp:sp>
    <dsp:sp modelId="{E39DD4FE-35AB-4410-B0EB-3441B77DA58A}">
      <dsp:nvSpPr>
        <dsp:cNvPr id="0" name=""/>
        <dsp:cNvSpPr/>
      </dsp:nvSpPr>
      <dsp:spPr>
        <a:xfrm>
          <a:off x="1562653" y="1293"/>
          <a:ext cx="945146" cy="94514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4BEEEE-9B6A-4CEA-BF7D-4EB51185C5D0}">
      <dsp:nvSpPr>
        <dsp:cNvPr id="0" name=""/>
        <dsp:cNvSpPr/>
      </dsp:nvSpPr>
      <dsp:spPr>
        <a:xfrm rot="10800000">
          <a:off x="2035227" y="1228573"/>
          <a:ext cx="7142062" cy="94514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783" tIns="91440" rIns="170688" bIns="91440" numCol="1" spcCol="1270" anchor="ctr" anchorCtr="0">
          <a:noAutofit/>
        </a:bodyPr>
        <a:lstStyle/>
        <a:p>
          <a:pPr marL="0" lvl="0" indent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Những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hoạt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động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10800000">
        <a:off x="2271513" y="1228573"/>
        <a:ext cx="6905776" cy="945146"/>
      </dsp:txXfrm>
    </dsp:sp>
    <dsp:sp modelId="{74987432-E469-4D27-883B-2B3A471B097F}">
      <dsp:nvSpPr>
        <dsp:cNvPr id="0" name=""/>
        <dsp:cNvSpPr/>
      </dsp:nvSpPr>
      <dsp:spPr>
        <a:xfrm>
          <a:off x="1562653" y="1228573"/>
          <a:ext cx="945146" cy="94514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EDD185C-FFD8-47CF-A5A3-72A07533D779}">
      <dsp:nvSpPr>
        <dsp:cNvPr id="0" name=""/>
        <dsp:cNvSpPr/>
      </dsp:nvSpPr>
      <dsp:spPr>
        <a:xfrm rot="10800000">
          <a:off x="2035227" y="2455853"/>
          <a:ext cx="7142062" cy="94514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783" tIns="91440" rIns="170688" bIns="91440" numCol="1" spcCol="1270" anchor="ctr" anchorCtr="0">
          <a:noAutofit/>
        </a:bodyPr>
        <a:lstStyle/>
        <a:p>
          <a:pPr marL="0" lvl="0" indent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ết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quả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Dự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án</a:t>
          </a:r>
          <a:endParaRPr lang="en-AU" sz="2400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10800000">
        <a:off x="2271513" y="2455853"/>
        <a:ext cx="6905776" cy="945146"/>
      </dsp:txXfrm>
    </dsp:sp>
    <dsp:sp modelId="{82AB18DB-61E9-4FCD-8093-48F8EA0C049C}">
      <dsp:nvSpPr>
        <dsp:cNvPr id="0" name=""/>
        <dsp:cNvSpPr/>
      </dsp:nvSpPr>
      <dsp:spPr>
        <a:xfrm>
          <a:off x="1562653" y="2455853"/>
          <a:ext cx="945146" cy="94514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709D66-D4B9-404D-A8D1-7C70765C8378}">
      <dsp:nvSpPr>
        <dsp:cNvPr id="0" name=""/>
        <dsp:cNvSpPr/>
      </dsp:nvSpPr>
      <dsp:spPr>
        <a:xfrm rot="10800000">
          <a:off x="2035227" y="3683132"/>
          <a:ext cx="7142062" cy="94514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6783" tIns="91440" rIns="170688" bIns="91440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Thuận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lợi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ó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hăn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bài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kinh</a:t>
          </a:r>
          <a:r>
            <a:rPr lang="en-US" sz="240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400" kern="120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endParaRPr lang="en-AU" sz="2400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10800000">
        <a:off x="2271513" y="3683132"/>
        <a:ext cx="6905776" cy="945146"/>
      </dsp:txXfrm>
    </dsp:sp>
    <dsp:sp modelId="{3BE3BC78-5249-4754-8271-37341B2A8AD1}">
      <dsp:nvSpPr>
        <dsp:cNvPr id="0" name=""/>
        <dsp:cNvSpPr/>
      </dsp:nvSpPr>
      <dsp:spPr>
        <a:xfrm>
          <a:off x="1562653" y="3683132"/>
          <a:ext cx="945146" cy="94514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FE98E0-8AB7-4AA7-A7A6-13725BDEE7A6}">
      <dsp:nvSpPr>
        <dsp:cNvPr id="0" name=""/>
        <dsp:cNvSpPr/>
      </dsp:nvSpPr>
      <dsp:spPr>
        <a:xfrm>
          <a:off x="0" y="1303936"/>
          <a:ext cx="11660506" cy="1738582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C60D4A-6245-4C5E-9D81-BC2D0A86C00B}">
      <dsp:nvSpPr>
        <dsp:cNvPr id="0" name=""/>
        <dsp:cNvSpPr/>
      </dsp:nvSpPr>
      <dsp:spPr>
        <a:xfrm>
          <a:off x="2154" y="0"/>
          <a:ext cx="962030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6/2022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 err="1"/>
            <a:t>Bắt</a:t>
          </a:r>
          <a:r>
            <a:rPr lang="en-AU" sz="1200" kern="1200" dirty="0"/>
            <a:t> </a:t>
          </a:r>
          <a:r>
            <a:rPr lang="en-AU" sz="1200" kern="1200" dirty="0" err="1"/>
            <a:t>đầu</a:t>
          </a:r>
          <a:r>
            <a:rPr lang="en-AU" sz="1200" kern="1200" dirty="0"/>
            <a:t> DA</a:t>
          </a:r>
        </a:p>
      </dsp:txBody>
      <dsp:txXfrm>
        <a:off x="2154" y="0"/>
        <a:ext cx="962030" cy="1738582"/>
      </dsp:txXfrm>
    </dsp:sp>
    <dsp:sp modelId="{2EB54767-BCBB-4301-8BDE-00EBBB483DE3}">
      <dsp:nvSpPr>
        <dsp:cNvPr id="0" name=""/>
        <dsp:cNvSpPr/>
      </dsp:nvSpPr>
      <dsp:spPr>
        <a:xfrm>
          <a:off x="265846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D52641-BCCD-4D5B-8309-7B1F796D72A1}">
      <dsp:nvSpPr>
        <dsp:cNvPr id="0" name=""/>
        <dsp:cNvSpPr/>
      </dsp:nvSpPr>
      <dsp:spPr>
        <a:xfrm>
          <a:off x="1000694" y="2607873"/>
          <a:ext cx="1249329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>
              <a:latin typeface="Arial (Body)"/>
            </a:rPr>
            <a:t>T6-T8/2022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>
              <a:latin typeface="Arial (Body)"/>
            </a:rPr>
            <a:t>1. </a:t>
          </a:r>
          <a:r>
            <a:rPr lang="en-AU" sz="1200" kern="1200" dirty="0" err="1">
              <a:latin typeface="Arial (Body)"/>
            </a:rPr>
            <a:t>Ký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kết</a:t>
          </a:r>
          <a:r>
            <a:rPr lang="en-AU" sz="1200" kern="1200" dirty="0">
              <a:latin typeface="Arial (Body)"/>
            </a:rPr>
            <a:t> MoU &amp; </a:t>
          </a:r>
          <a:r>
            <a:rPr lang="en-AU" sz="1200" kern="1200" dirty="0" err="1">
              <a:latin typeface="Arial (Body)"/>
            </a:rPr>
            <a:t>chuẩn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bị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triển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khai</a:t>
          </a:r>
          <a:endParaRPr lang="en-AU" sz="1200" kern="1200" dirty="0">
            <a:latin typeface="Arial (Body)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>
              <a:latin typeface="Arial (Body)"/>
            </a:rPr>
            <a:t>2. </a:t>
          </a:r>
          <a:r>
            <a:rPr lang="en-AU" sz="1200" kern="1200" dirty="0" err="1">
              <a:latin typeface="Arial (Body)"/>
            </a:rPr>
            <a:t>Lựa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chọn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loại</a:t>
          </a:r>
          <a:r>
            <a:rPr lang="en-AU" sz="1200" kern="1200" dirty="0">
              <a:latin typeface="Arial (Body)"/>
            </a:rPr>
            <a:t> tes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>
              <a:latin typeface="Arial (Body)"/>
            </a:rPr>
            <a:t>3. </a:t>
          </a:r>
          <a:r>
            <a:rPr lang="en-AU" sz="1200" kern="1200" dirty="0" err="1">
              <a:latin typeface="Arial (Body)"/>
            </a:rPr>
            <a:t>Đánh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giá</a:t>
          </a:r>
          <a:r>
            <a:rPr lang="en-AU" sz="1200" kern="1200" dirty="0">
              <a:latin typeface="Arial (Body)"/>
            </a:rPr>
            <a:t> &amp; </a:t>
          </a:r>
          <a:r>
            <a:rPr lang="en-AU" sz="1200" kern="1200" dirty="0" err="1">
              <a:latin typeface="Arial (Body)"/>
            </a:rPr>
            <a:t>lựa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chọn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địa</a:t>
          </a:r>
          <a:r>
            <a:rPr lang="en-AU" sz="1200" kern="1200" dirty="0">
              <a:latin typeface="Arial (Body)"/>
            </a:rPr>
            <a:t> </a:t>
          </a:r>
          <a:r>
            <a:rPr lang="en-AU" sz="1200" kern="1200" dirty="0" err="1">
              <a:latin typeface="Arial (Body)"/>
            </a:rPr>
            <a:t>bàn</a:t>
          </a:r>
          <a:endParaRPr lang="en-AU" sz="1200" kern="1200" dirty="0">
            <a:latin typeface="Arial (Body)"/>
          </a:endParaRPr>
        </a:p>
      </dsp:txBody>
      <dsp:txXfrm>
        <a:off x="1000694" y="2607873"/>
        <a:ext cx="1249329" cy="1738582"/>
      </dsp:txXfrm>
    </dsp:sp>
    <dsp:sp modelId="{FA7D6623-0DCA-4CE6-923F-9CAF5D827248}">
      <dsp:nvSpPr>
        <dsp:cNvPr id="0" name=""/>
        <dsp:cNvSpPr/>
      </dsp:nvSpPr>
      <dsp:spPr>
        <a:xfrm>
          <a:off x="1408036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4F8CDE-4921-41C6-AD41-78D7FE6AC474}">
      <dsp:nvSpPr>
        <dsp:cNvPr id="0" name=""/>
        <dsp:cNvSpPr/>
      </dsp:nvSpPr>
      <dsp:spPr>
        <a:xfrm>
          <a:off x="2286534" y="0"/>
          <a:ext cx="1658543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9-T10/2022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1. Mua </a:t>
          </a:r>
          <a:r>
            <a:rPr lang="en-AU" sz="1200" kern="1200" dirty="0" err="1"/>
            <a:t>sắm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2. </a:t>
          </a:r>
          <a:r>
            <a:rPr lang="en-AU" sz="1200" kern="1200" dirty="0" err="1"/>
            <a:t>Xây</a:t>
          </a:r>
          <a:r>
            <a:rPr lang="en-AU" sz="1200" kern="1200" dirty="0"/>
            <a:t> </a:t>
          </a:r>
          <a:r>
            <a:rPr lang="en-AU" sz="1200" kern="1200" dirty="0" err="1"/>
            <a:t>dựng</a:t>
          </a:r>
          <a:r>
            <a:rPr lang="en-AU" sz="1200" kern="1200" dirty="0"/>
            <a:t> </a:t>
          </a:r>
          <a:r>
            <a:rPr lang="en-AU" sz="1200" kern="1200" dirty="0" err="1"/>
            <a:t>phần</a:t>
          </a:r>
          <a:r>
            <a:rPr lang="en-AU" sz="1200" kern="1200" dirty="0"/>
            <a:t> </a:t>
          </a:r>
          <a:r>
            <a:rPr lang="en-AU" sz="1200" kern="1200" dirty="0" err="1"/>
            <a:t>mềm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3. </a:t>
          </a:r>
          <a:r>
            <a:rPr lang="en-AU" sz="1200" kern="1200" dirty="0" err="1"/>
            <a:t>Xây</a:t>
          </a:r>
          <a:r>
            <a:rPr lang="en-AU" sz="1200" kern="1200" dirty="0"/>
            <a:t> </a:t>
          </a:r>
          <a:r>
            <a:rPr lang="en-AU" sz="1200" kern="1200" dirty="0" err="1"/>
            <a:t>dựng</a:t>
          </a:r>
          <a:r>
            <a:rPr lang="en-AU" sz="1200" kern="1200" dirty="0"/>
            <a:t> </a:t>
          </a:r>
          <a:r>
            <a:rPr lang="en-AU" sz="1200" kern="1200" dirty="0" err="1"/>
            <a:t>quy</a:t>
          </a:r>
          <a:r>
            <a:rPr lang="en-AU" sz="1200" kern="1200" dirty="0"/>
            <a:t> </a:t>
          </a:r>
          <a:r>
            <a:rPr lang="en-AU" sz="1200" kern="1200" dirty="0" err="1"/>
            <a:t>trình</a:t>
          </a:r>
          <a:r>
            <a:rPr lang="en-AU" sz="1200" kern="1200" dirty="0"/>
            <a:t> &amp; </a:t>
          </a:r>
          <a:r>
            <a:rPr lang="en-AU" sz="1200" kern="1200" dirty="0" err="1"/>
            <a:t>tài</a:t>
          </a:r>
          <a:r>
            <a:rPr lang="en-AU" sz="1200" kern="1200" dirty="0"/>
            <a:t> </a:t>
          </a:r>
          <a:r>
            <a:rPr lang="en-AU" sz="1200" kern="1200" dirty="0" err="1"/>
            <a:t>liệu</a:t>
          </a:r>
          <a:r>
            <a:rPr lang="en-AU" sz="1200" kern="1200" dirty="0"/>
            <a:t> D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4. </a:t>
          </a:r>
          <a:r>
            <a:rPr lang="en-AU" sz="1200" kern="1200" dirty="0" err="1"/>
            <a:t>Xây</a:t>
          </a:r>
          <a:r>
            <a:rPr lang="en-AU" sz="1200" kern="1200" dirty="0"/>
            <a:t> </a:t>
          </a:r>
          <a:r>
            <a:rPr lang="en-AU" sz="1200" kern="1200" dirty="0" err="1"/>
            <a:t>dựng</a:t>
          </a:r>
          <a:r>
            <a:rPr lang="en-AU" sz="1200" kern="1200" dirty="0"/>
            <a:t> </a:t>
          </a:r>
          <a:r>
            <a:rPr lang="en-AU" sz="1200" kern="1200" dirty="0" err="1"/>
            <a:t>tài</a:t>
          </a:r>
          <a:r>
            <a:rPr lang="en-AU" sz="1200" kern="1200" dirty="0"/>
            <a:t> </a:t>
          </a:r>
          <a:r>
            <a:rPr lang="en-AU" sz="1200" kern="1200" dirty="0" err="1"/>
            <a:t>liệu</a:t>
          </a:r>
          <a:r>
            <a:rPr lang="en-AU" sz="1200" kern="1200" dirty="0"/>
            <a:t> </a:t>
          </a:r>
          <a:r>
            <a:rPr lang="en-AU" sz="1200" kern="1200" dirty="0" err="1"/>
            <a:t>truyền</a:t>
          </a:r>
          <a:r>
            <a:rPr lang="en-AU" sz="1200" kern="1200" dirty="0"/>
            <a:t> </a:t>
          </a:r>
          <a:r>
            <a:rPr lang="en-AU" sz="1200" kern="1200" dirty="0" err="1"/>
            <a:t>thông</a:t>
          </a:r>
          <a:endParaRPr lang="en-AU" sz="1200" kern="1200" dirty="0"/>
        </a:p>
      </dsp:txBody>
      <dsp:txXfrm>
        <a:off x="2286534" y="0"/>
        <a:ext cx="1658543" cy="1738582"/>
      </dsp:txXfrm>
    </dsp:sp>
    <dsp:sp modelId="{6E0AF621-1DCD-46C7-B0B0-89B4506AA27D}">
      <dsp:nvSpPr>
        <dsp:cNvPr id="0" name=""/>
        <dsp:cNvSpPr/>
      </dsp:nvSpPr>
      <dsp:spPr>
        <a:xfrm>
          <a:off x="2898483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D1B783-ECB8-47D0-8198-701A88D02453}">
      <dsp:nvSpPr>
        <dsp:cNvPr id="0" name=""/>
        <dsp:cNvSpPr/>
      </dsp:nvSpPr>
      <dsp:spPr>
        <a:xfrm>
          <a:off x="3981588" y="2607873"/>
          <a:ext cx="1558432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10/2022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1. </a:t>
          </a:r>
          <a:r>
            <a:rPr lang="en-AU" sz="1200" kern="1200" dirty="0" err="1"/>
            <a:t>Tập</a:t>
          </a:r>
          <a:r>
            <a:rPr lang="en-AU" sz="1200" kern="1200" dirty="0"/>
            <a:t> </a:t>
          </a:r>
          <a:r>
            <a:rPr lang="en-AU" sz="1200" kern="1200" dirty="0" err="1"/>
            <a:t>huấn</a:t>
          </a:r>
          <a:r>
            <a:rPr lang="en-AU" sz="1200" kern="1200" dirty="0"/>
            <a:t> &amp; </a:t>
          </a:r>
          <a:r>
            <a:rPr lang="en-AU" sz="1200" kern="1200" dirty="0" err="1"/>
            <a:t>thí</a:t>
          </a:r>
          <a:r>
            <a:rPr lang="en-AU" sz="1200" kern="1200" dirty="0"/>
            <a:t> </a:t>
          </a:r>
          <a:r>
            <a:rPr lang="en-AU" sz="1200" kern="1200" dirty="0" err="1"/>
            <a:t>điểm</a:t>
          </a:r>
          <a:r>
            <a:rPr lang="en-AU" sz="1200" kern="1200" dirty="0"/>
            <a:t> </a:t>
          </a:r>
          <a:r>
            <a:rPr lang="en-AU" sz="1200" kern="1200" dirty="0" err="1"/>
            <a:t>tại</a:t>
          </a:r>
          <a:r>
            <a:rPr lang="en-AU" sz="1200" kern="1200" dirty="0"/>
            <a:t> 10 </a:t>
          </a:r>
          <a:r>
            <a:rPr lang="en-AU" sz="1200" kern="1200" dirty="0" err="1"/>
            <a:t>xã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2. </a:t>
          </a:r>
          <a:r>
            <a:rPr lang="en-AU" sz="1200" kern="1200" dirty="0" err="1"/>
            <a:t>Lắp</a:t>
          </a:r>
          <a:r>
            <a:rPr lang="en-AU" sz="1200" kern="1200" dirty="0"/>
            <a:t> </a:t>
          </a:r>
          <a:r>
            <a:rPr lang="en-AU" sz="1200" kern="1200" dirty="0" err="1"/>
            <a:t>đặt</a:t>
          </a:r>
          <a:r>
            <a:rPr lang="en-AU" sz="1200" kern="1200" dirty="0"/>
            <a:t> </a:t>
          </a:r>
          <a:r>
            <a:rPr lang="en-AU" sz="1200" kern="1200" dirty="0" err="1"/>
            <a:t>hệ</a:t>
          </a:r>
          <a:r>
            <a:rPr lang="en-AU" sz="1200" kern="1200" dirty="0"/>
            <a:t> </a:t>
          </a:r>
          <a:r>
            <a:rPr lang="en-AU" sz="1200" kern="1200" dirty="0" err="1"/>
            <a:t>thống</a:t>
          </a:r>
          <a:r>
            <a:rPr lang="en-AU" sz="1200" kern="1200" dirty="0"/>
            <a:t> GeneXpert &amp; </a:t>
          </a:r>
          <a:r>
            <a:rPr lang="en-AU" sz="1200" kern="1200" dirty="0" err="1"/>
            <a:t>đào</a:t>
          </a:r>
          <a:r>
            <a:rPr lang="en-AU" sz="1200" kern="1200" dirty="0"/>
            <a:t> </a:t>
          </a:r>
          <a:r>
            <a:rPr lang="en-AU" sz="1200" kern="1200" dirty="0" err="1"/>
            <a:t>tạo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3. </a:t>
          </a:r>
          <a:r>
            <a:rPr lang="en-AU" sz="1200" kern="1200" dirty="0" err="1"/>
            <a:t>Đánh</a:t>
          </a:r>
          <a:r>
            <a:rPr lang="en-AU" sz="1200" kern="1200" dirty="0"/>
            <a:t> </a:t>
          </a:r>
          <a:r>
            <a:rPr lang="en-AU" sz="1200" kern="1200" dirty="0" err="1"/>
            <a:t>giá</a:t>
          </a:r>
          <a:r>
            <a:rPr lang="en-AU" sz="1200" kern="1200" dirty="0"/>
            <a:t> </a:t>
          </a:r>
          <a:r>
            <a:rPr lang="en-AU" sz="1200" kern="1200" dirty="0" err="1"/>
            <a:t>nhu</a:t>
          </a:r>
          <a:r>
            <a:rPr lang="en-AU" sz="1200" kern="1200" dirty="0"/>
            <a:t> </a:t>
          </a:r>
          <a:r>
            <a:rPr lang="en-AU" sz="1200" kern="1200" dirty="0" err="1"/>
            <a:t>cầu</a:t>
          </a:r>
          <a:r>
            <a:rPr lang="en-AU" sz="1200" kern="1200" dirty="0"/>
            <a:t> </a:t>
          </a:r>
          <a:r>
            <a:rPr lang="en-AU" sz="1200" kern="1200" dirty="0" err="1"/>
            <a:t>cấp</a:t>
          </a:r>
          <a:r>
            <a:rPr lang="en-AU" sz="1200" kern="1200" dirty="0"/>
            <a:t> </a:t>
          </a:r>
          <a:r>
            <a:rPr lang="en-AU" sz="1200" kern="1200" dirty="0" err="1"/>
            <a:t>vật</a:t>
          </a:r>
          <a:r>
            <a:rPr lang="en-AU" sz="1200" kern="1200" dirty="0"/>
            <a:t> </a:t>
          </a:r>
          <a:r>
            <a:rPr lang="en-AU" sz="1200" kern="1200" dirty="0" err="1"/>
            <a:t>tư</a:t>
          </a:r>
          <a:r>
            <a:rPr lang="en-AU" sz="1200" kern="1200" dirty="0"/>
            <a:t> </a:t>
          </a:r>
          <a:r>
            <a:rPr lang="en-AU" sz="1200" kern="1200" dirty="0" err="1"/>
            <a:t>tiêu</a:t>
          </a:r>
          <a:r>
            <a:rPr lang="en-AU" sz="1200" kern="1200" dirty="0"/>
            <a:t> </a:t>
          </a:r>
          <a:r>
            <a:rPr lang="en-AU" sz="1200" kern="1200" dirty="0" err="1"/>
            <a:t>hao</a:t>
          </a:r>
          <a:endParaRPr lang="en-AU" sz="1200" kern="1200" dirty="0"/>
        </a:p>
      </dsp:txBody>
      <dsp:txXfrm>
        <a:off x="3981588" y="2607873"/>
        <a:ext cx="1558432" cy="1738582"/>
      </dsp:txXfrm>
    </dsp:sp>
    <dsp:sp modelId="{4DEC5811-EBB0-4140-9899-AA920D9CA2DE}">
      <dsp:nvSpPr>
        <dsp:cNvPr id="0" name=""/>
        <dsp:cNvSpPr/>
      </dsp:nvSpPr>
      <dsp:spPr>
        <a:xfrm>
          <a:off x="4543482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CC940A-D142-4D26-A4F8-AA861BB56E26}">
      <dsp:nvSpPr>
        <dsp:cNvPr id="0" name=""/>
        <dsp:cNvSpPr/>
      </dsp:nvSpPr>
      <dsp:spPr>
        <a:xfrm>
          <a:off x="5576531" y="0"/>
          <a:ext cx="1298209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11/2023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1. </a:t>
          </a:r>
          <a:r>
            <a:rPr lang="en-AU" sz="1200" kern="1200" dirty="0" err="1"/>
            <a:t>Tập</a:t>
          </a:r>
          <a:r>
            <a:rPr lang="en-AU" sz="1200" kern="1200" dirty="0"/>
            <a:t> </a:t>
          </a:r>
          <a:r>
            <a:rPr lang="en-AU" sz="1200" kern="1200" dirty="0" err="1"/>
            <a:t>huấn</a:t>
          </a:r>
          <a:r>
            <a:rPr lang="en-AU" sz="1200" kern="1200" dirty="0"/>
            <a:t> &amp; </a:t>
          </a:r>
          <a:r>
            <a:rPr lang="en-AU" sz="1200" kern="1200" dirty="0" err="1"/>
            <a:t>triển</a:t>
          </a:r>
          <a:r>
            <a:rPr lang="en-AU" sz="1200" kern="1200" dirty="0"/>
            <a:t> </a:t>
          </a:r>
          <a:r>
            <a:rPr lang="en-AU" sz="1200" kern="1200" dirty="0" err="1"/>
            <a:t>khai</a:t>
          </a:r>
          <a:r>
            <a:rPr lang="en-AU" sz="1200" kern="1200" dirty="0"/>
            <a:t> </a:t>
          </a:r>
          <a:r>
            <a:rPr lang="en-AU" sz="1200" kern="1200" dirty="0" err="1"/>
            <a:t>tại</a:t>
          </a:r>
          <a:r>
            <a:rPr lang="en-AU" sz="1200" kern="1200" dirty="0"/>
            <a:t> </a:t>
          </a:r>
          <a:r>
            <a:rPr lang="en-AU" sz="1200" kern="1200" dirty="0" err="1"/>
            <a:t>các</a:t>
          </a:r>
          <a:r>
            <a:rPr lang="en-AU" sz="1200" kern="1200" dirty="0"/>
            <a:t> CSYT </a:t>
          </a:r>
          <a:r>
            <a:rPr lang="en-AU" sz="1200" kern="1200" dirty="0" err="1"/>
            <a:t>còn</a:t>
          </a:r>
          <a:r>
            <a:rPr lang="en-AU" sz="1200" kern="1200" dirty="0"/>
            <a:t> </a:t>
          </a:r>
          <a:r>
            <a:rPr lang="en-AU" sz="1200" kern="1200" dirty="0" err="1"/>
            <a:t>lại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2. </a:t>
          </a:r>
          <a:r>
            <a:rPr lang="en-AU" sz="1200" kern="1200" dirty="0" err="1"/>
            <a:t>Phân</a:t>
          </a:r>
          <a:r>
            <a:rPr lang="en-AU" sz="1200" kern="1200" dirty="0"/>
            <a:t> </a:t>
          </a:r>
          <a:r>
            <a:rPr lang="en-AU" sz="1200" kern="1200" dirty="0" err="1"/>
            <a:t>phối</a:t>
          </a:r>
          <a:r>
            <a:rPr lang="en-AU" sz="1200" kern="1200" dirty="0"/>
            <a:t> test &amp; </a:t>
          </a:r>
          <a:r>
            <a:rPr lang="en-AU" sz="1200" kern="1200" dirty="0" err="1"/>
            <a:t>vật</a:t>
          </a:r>
          <a:r>
            <a:rPr lang="en-AU" sz="1200" kern="1200" dirty="0"/>
            <a:t> </a:t>
          </a:r>
          <a:r>
            <a:rPr lang="en-AU" sz="1200" kern="1200" dirty="0" err="1"/>
            <a:t>tư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3. </a:t>
          </a:r>
          <a:r>
            <a:rPr lang="en-AU" sz="1200" kern="1200" dirty="0" err="1"/>
            <a:t>Phân</a:t>
          </a:r>
          <a:r>
            <a:rPr lang="en-AU" sz="1200" kern="1200" dirty="0"/>
            <a:t> </a:t>
          </a:r>
          <a:r>
            <a:rPr lang="en-AU" sz="1200" kern="1200" dirty="0" err="1"/>
            <a:t>phối</a:t>
          </a:r>
          <a:r>
            <a:rPr lang="en-AU" sz="1200" kern="1200" dirty="0"/>
            <a:t> </a:t>
          </a:r>
          <a:r>
            <a:rPr lang="en-AU" sz="1200" kern="1200" dirty="0" err="1"/>
            <a:t>tài</a:t>
          </a:r>
          <a:r>
            <a:rPr lang="en-AU" sz="1200" kern="1200" dirty="0"/>
            <a:t> </a:t>
          </a:r>
          <a:r>
            <a:rPr lang="en-AU" sz="1200" kern="1200" dirty="0" err="1"/>
            <a:t>liệu</a:t>
          </a:r>
          <a:r>
            <a:rPr lang="en-AU" sz="1200" kern="1200" dirty="0"/>
            <a:t> </a:t>
          </a:r>
          <a:r>
            <a:rPr lang="en-AU" sz="1200" kern="1200" dirty="0" err="1"/>
            <a:t>truyền</a:t>
          </a:r>
          <a:r>
            <a:rPr lang="en-AU" sz="1200" kern="1200" dirty="0"/>
            <a:t> </a:t>
          </a:r>
          <a:r>
            <a:rPr lang="en-AU" sz="1200" kern="1200" dirty="0" err="1"/>
            <a:t>thông</a:t>
          </a:r>
          <a:endParaRPr lang="en-AU" sz="1200" kern="1200" dirty="0"/>
        </a:p>
      </dsp:txBody>
      <dsp:txXfrm>
        <a:off x="5576531" y="0"/>
        <a:ext cx="1298209" cy="1738582"/>
      </dsp:txXfrm>
    </dsp:sp>
    <dsp:sp modelId="{D412F042-497E-4DAD-8B38-AD610DEF90EC}">
      <dsp:nvSpPr>
        <dsp:cNvPr id="0" name=""/>
        <dsp:cNvSpPr/>
      </dsp:nvSpPr>
      <dsp:spPr>
        <a:xfrm>
          <a:off x="6008313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53F105-8B6C-4EB4-8E17-2FC6D7A1A2D4}">
      <dsp:nvSpPr>
        <dsp:cNvPr id="0" name=""/>
        <dsp:cNvSpPr/>
      </dsp:nvSpPr>
      <dsp:spPr>
        <a:xfrm>
          <a:off x="6911251" y="2607873"/>
          <a:ext cx="1576125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10/2022-T6/2023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1. </a:t>
          </a:r>
          <a:r>
            <a:rPr lang="en-AU" sz="1200" kern="1200" dirty="0" err="1"/>
            <a:t>Thực</a:t>
          </a:r>
          <a:r>
            <a:rPr lang="en-AU" sz="1200" kern="1200" dirty="0"/>
            <a:t> </a:t>
          </a:r>
          <a:r>
            <a:rPr lang="en-AU" sz="1200" kern="1200" dirty="0" err="1"/>
            <a:t>hiện</a:t>
          </a:r>
          <a:r>
            <a:rPr lang="en-AU" sz="1200" kern="1200" dirty="0"/>
            <a:t> </a:t>
          </a:r>
          <a:r>
            <a:rPr lang="en-AU" sz="1200" kern="1200" dirty="0" err="1"/>
            <a:t>khám</a:t>
          </a:r>
          <a:r>
            <a:rPr lang="en-AU" sz="1200" kern="1200" dirty="0"/>
            <a:t>, </a:t>
          </a:r>
          <a:r>
            <a:rPr lang="en-AU" sz="1200" kern="1200" dirty="0" err="1"/>
            <a:t>sàng</a:t>
          </a:r>
          <a:r>
            <a:rPr lang="en-AU" sz="1200" kern="1200" dirty="0"/>
            <a:t> </a:t>
          </a:r>
          <a:r>
            <a:rPr lang="en-AU" sz="1200" kern="1200" dirty="0" err="1"/>
            <a:t>lọc</a:t>
          </a:r>
          <a:r>
            <a:rPr lang="en-AU" sz="1200" kern="1200" dirty="0"/>
            <a:t> </a:t>
          </a:r>
          <a:r>
            <a:rPr lang="en-AU" sz="1200" kern="1200" dirty="0" err="1"/>
            <a:t>và</a:t>
          </a:r>
          <a:r>
            <a:rPr lang="en-AU" sz="1200" kern="1200" dirty="0"/>
            <a:t> </a:t>
          </a:r>
          <a:r>
            <a:rPr lang="en-AU" sz="1200" kern="1200" dirty="0" err="1"/>
            <a:t>xét</a:t>
          </a:r>
          <a:r>
            <a:rPr lang="en-AU" sz="1200" kern="1200" dirty="0"/>
            <a:t> </a:t>
          </a:r>
          <a:r>
            <a:rPr lang="en-AU" sz="1200" kern="1200" dirty="0" err="1"/>
            <a:t>nghiệm</a:t>
          </a:r>
          <a:r>
            <a:rPr lang="en-AU" sz="1200" kern="1200" dirty="0"/>
            <a:t> </a:t>
          </a:r>
          <a:r>
            <a:rPr lang="en-AU" sz="1200" kern="1200" dirty="0" err="1"/>
            <a:t>tại</a:t>
          </a:r>
          <a:r>
            <a:rPr lang="en-AU" sz="1200" kern="1200" dirty="0"/>
            <a:t> CSY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2. </a:t>
          </a:r>
          <a:r>
            <a:rPr lang="en-AU" sz="1200" kern="1200" dirty="0" err="1"/>
            <a:t>Thực</a:t>
          </a:r>
          <a:r>
            <a:rPr lang="en-AU" sz="1200" kern="1200" dirty="0"/>
            <a:t> </a:t>
          </a:r>
          <a:r>
            <a:rPr lang="en-AU" sz="1200" kern="1200" dirty="0" err="1"/>
            <a:t>hiện</a:t>
          </a:r>
          <a:r>
            <a:rPr lang="en-AU" sz="1200" kern="1200" dirty="0"/>
            <a:t> </a:t>
          </a:r>
          <a:r>
            <a:rPr lang="en-AU" sz="1200" kern="1200" dirty="0" err="1"/>
            <a:t>truyền</a:t>
          </a:r>
          <a:r>
            <a:rPr lang="en-AU" sz="1200" kern="1200" dirty="0"/>
            <a:t> </a:t>
          </a:r>
          <a:r>
            <a:rPr lang="en-AU" sz="1200" kern="1200" dirty="0" err="1"/>
            <a:t>thông</a:t>
          </a:r>
          <a:r>
            <a:rPr lang="en-AU" sz="1200" kern="1200" dirty="0"/>
            <a:t> </a:t>
          </a:r>
          <a:r>
            <a:rPr lang="en-AU" sz="1200" kern="1200" dirty="0" err="1"/>
            <a:t>tại</a:t>
          </a:r>
          <a:r>
            <a:rPr lang="en-AU" sz="1200" kern="1200" dirty="0"/>
            <a:t> </a:t>
          </a:r>
          <a:r>
            <a:rPr lang="en-AU" sz="1200" kern="1200" dirty="0" err="1"/>
            <a:t>xã</a:t>
          </a:r>
          <a:r>
            <a:rPr lang="en-AU" sz="1200" kern="1200" dirty="0"/>
            <a:t>, </a:t>
          </a:r>
          <a:r>
            <a:rPr lang="en-AU" sz="1200" kern="1200" dirty="0" err="1"/>
            <a:t>huyện</a:t>
          </a:r>
          <a:endParaRPr lang="en-AU" sz="1200" kern="1200" dirty="0"/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3. </a:t>
          </a:r>
          <a:r>
            <a:rPr lang="en-AU" sz="1200" kern="1200" dirty="0" err="1"/>
            <a:t>Giám</a:t>
          </a:r>
          <a:r>
            <a:rPr lang="en-AU" sz="1200" kern="1200" dirty="0"/>
            <a:t> </a:t>
          </a:r>
          <a:r>
            <a:rPr lang="en-AU" sz="1200" kern="1200" dirty="0" err="1"/>
            <a:t>sát</a:t>
          </a:r>
          <a:r>
            <a:rPr lang="en-AU" sz="1200" kern="1200" dirty="0"/>
            <a:t> </a:t>
          </a:r>
          <a:r>
            <a:rPr lang="en-AU" sz="1200" kern="1200" dirty="0" err="1"/>
            <a:t>hỗ</a:t>
          </a:r>
          <a:r>
            <a:rPr lang="en-AU" sz="1200" kern="1200" dirty="0"/>
            <a:t> </a:t>
          </a:r>
          <a:r>
            <a:rPr lang="en-AU" sz="1200" kern="1200" dirty="0" err="1"/>
            <a:t>trợ</a:t>
          </a:r>
          <a:r>
            <a:rPr lang="en-AU" sz="1200" kern="1200" dirty="0"/>
            <a:t> </a:t>
          </a:r>
          <a:r>
            <a:rPr lang="en-AU" sz="1200" kern="1200" dirty="0" err="1"/>
            <a:t>các</a:t>
          </a:r>
          <a:r>
            <a:rPr lang="en-AU" sz="1200" kern="1200" dirty="0"/>
            <a:t> CSYT</a:t>
          </a:r>
        </a:p>
      </dsp:txBody>
      <dsp:txXfrm>
        <a:off x="6911251" y="2607873"/>
        <a:ext cx="1576125" cy="1738582"/>
      </dsp:txXfrm>
    </dsp:sp>
    <dsp:sp modelId="{BA3CE360-DB9E-4D60-9A86-8F966B00734D}">
      <dsp:nvSpPr>
        <dsp:cNvPr id="0" name=""/>
        <dsp:cNvSpPr/>
      </dsp:nvSpPr>
      <dsp:spPr>
        <a:xfrm>
          <a:off x="7481991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87A1A-5315-4472-9AF9-E8F0B8C57B15}">
      <dsp:nvSpPr>
        <dsp:cNvPr id="0" name=""/>
        <dsp:cNvSpPr/>
      </dsp:nvSpPr>
      <dsp:spPr>
        <a:xfrm>
          <a:off x="8523887" y="0"/>
          <a:ext cx="1201698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b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7-T9/2023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1. </a:t>
          </a:r>
          <a:r>
            <a:rPr lang="en-AU" sz="1200" kern="1200" dirty="0" err="1"/>
            <a:t>Mở</a:t>
          </a:r>
          <a:r>
            <a:rPr lang="en-AU" sz="1200" kern="1200" dirty="0"/>
            <a:t> </a:t>
          </a:r>
          <a:r>
            <a:rPr lang="en-AU" sz="1200" kern="1200" dirty="0" err="1"/>
            <a:t>rộng</a:t>
          </a:r>
          <a:r>
            <a:rPr lang="en-AU" sz="1200" kern="1200" dirty="0"/>
            <a:t> </a:t>
          </a:r>
          <a:r>
            <a:rPr lang="en-AU" sz="1200" kern="1200" dirty="0" err="1"/>
            <a:t>phần</a:t>
          </a:r>
          <a:r>
            <a:rPr lang="en-AU" sz="1200" kern="1200" dirty="0"/>
            <a:t> </a:t>
          </a:r>
          <a:r>
            <a:rPr lang="en-AU" sz="1200" kern="1200" dirty="0" err="1"/>
            <a:t>mềm</a:t>
          </a:r>
          <a:r>
            <a:rPr lang="en-AU" sz="1200" kern="1200" dirty="0"/>
            <a:t>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2. </a:t>
          </a:r>
          <a:r>
            <a:rPr lang="en-AU" sz="1200" kern="1200" dirty="0" err="1"/>
            <a:t>Đánh</a:t>
          </a:r>
          <a:r>
            <a:rPr lang="en-AU" sz="1200" kern="1200" dirty="0"/>
            <a:t> </a:t>
          </a:r>
          <a:r>
            <a:rPr lang="en-AU" sz="1200" kern="1200" dirty="0" err="1"/>
            <a:t>giá</a:t>
          </a:r>
          <a:r>
            <a:rPr lang="en-AU" sz="1200" kern="1200" dirty="0"/>
            <a:t> </a:t>
          </a:r>
          <a:r>
            <a:rPr lang="en-AU" sz="1200" kern="1200" dirty="0" err="1"/>
            <a:t>tác</a:t>
          </a:r>
          <a:r>
            <a:rPr lang="en-AU" sz="1200" kern="1200" dirty="0"/>
            <a:t> </a:t>
          </a:r>
          <a:r>
            <a:rPr lang="en-AU" sz="1200" kern="1200" dirty="0" err="1"/>
            <a:t>động</a:t>
          </a:r>
          <a:r>
            <a:rPr lang="en-AU" sz="1200" kern="1200" dirty="0"/>
            <a:t> D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/>
            <a:t>3. </a:t>
          </a:r>
          <a:r>
            <a:rPr lang="en-AU" sz="1200" kern="1200" dirty="0" err="1"/>
            <a:t>Tổng</a:t>
          </a:r>
          <a:r>
            <a:rPr lang="en-AU" sz="1200" kern="1200" dirty="0"/>
            <a:t> </a:t>
          </a:r>
          <a:r>
            <a:rPr lang="en-AU" sz="1200" kern="1200" dirty="0" err="1"/>
            <a:t>kết</a:t>
          </a:r>
          <a:r>
            <a:rPr lang="en-AU" sz="1200" kern="1200" dirty="0"/>
            <a:t> DA</a:t>
          </a:r>
        </a:p>
      </dsp:txBody>
      <dsp:txXfrm>
        <a:off x="8523887" y="0"/>
        <a:ext cx="1201698" cy="1738582"/>
      </dsp:txXfrm>
    </dsp:sp>
    <dsp:sp modelId="{B55C20D3-7002-4490-BD16-EB245EEC692D}">
      <dsp:nvSpPr>
        <dsp:cNvPr id="0" name=""/>
        <dsp:cNvSpPr/>
      </dsp:nvSpPr>
      <dsp:spPr>
        <a:xfrm>
          <a:off x="8907414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A76D2E-F765-4228-A6B0-9F446283DBF9}">
      <dsp:nvSpPr>
        <dsp:cNvPr id="0" name=""/>
        <dsp:cNvSpPr/>
      </dsp:nvSpPr>
      <dsp:spPr>
        <a:xfrm>
          <a:off x="9762096" y="2607873"/>
          <a:ext cx="730205" cy="17385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b="1" kern="1200" dirty="0"/>
            <a:t>T9/2023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200" kern="1200" dirty="0" err="1"/>
            <a:t>Kết</a:t>
          </a:r>
          <a:r>
            <a:rPr lang="en-AU" sz="1200" kern="1200" dirty="0"/>
            <a:t> </a:t>
          </a:r>
          <a:r>
            <a:rPr lang="en-AU" sz="1200" kern="1200" dirty="0" err="1"/>
            <a:t>thúc</a:t>
          </a:r>
          <a:r>
            <a:rPr lang="en-AU" sz="1200" kern="1200" dirty="0"/>
            <a:t> DA</a:t>
          </a:r>
        </a:p>
      </dsp:txBody>
      <dsp:txXfrm>
        <a:off x="9762096" y="2607873"/>
        <a:ext cx="730205" cy="1738582"/>
      </dsp:txXfrm>
    </dsp:sp>
    <dsp:sp modelId="{2A8FDB9A-8860-43E2-8F7F-38455E492EF7}">
      <dsp:nvSpPr>
        <dsp:cNvPr id="0" name=""/>
        <dsp:cNvSpPr/>
      </dsp:nvSpPr>
      <dsp:spPr>
        <a:xfrm>
          <a:off x="9909876" y="1955905"/>
          <a:ext cx="434645" cy="4346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0F89CD-F2FF-459A-9E18-08D05A3DCC03}">
      <dsp:nvSpPr>
        <dsp:cNvPr id="0" name=""/>
        <dsp:cNvSpPr/>
      </dsp:nvSpPr>
      <dsp:spPr>
        <a:xfrm>
          <a:off x="7096" y="2410146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Người</a:t>
          </a:r>
          <a:r>
            <a:rPr lang="en-AU" sz="1600" kern="1200" dirty="0"/>
            <a:t> </a:t>
          </a:r>
          <a:r>
            <a:rPr lang="en-AU" sz="1600" kern="1200" dirty="0" err="1"/>
            <a:t>có</a:t>
          </a:r>
          <a:r>
            <a:rPr lang="en-AU" sz="1600" kern="1200" dirty="0"/>
            <a:t> </a:t>
          </a:r>
          <a:r>
            <a:rPr lang="en-AU" sz="1600" kern="1200" dirty="0" err="1"/>
            <a:t>triệu</a:t>
          </a:r>
          <a:r>
            <a:rPr lang="en-AU" sz="1600" kern="1200" dirty="0"/>
            <a:t> </a:t>
          </a:r>
          <a:r>
            <a:rPr lang="en-AU" sz="1600" kern="1200" dirty="0" err="1"/>
            <a:t>chứng</a:t>
          </a:r>
          <a:r>
            <a:rPr lang="en-AU" sz="1600" kern="1200" dirty="0"/>
            <a:t> </a:t>
          </a:r>
          <a:r>
            <a:rPr lang="en-AU" sz="1600" kern="1200" dirty="0" err="1"/>
            <a:t>đường</a:t>
          </a:r>
          <a:r>
            <a:rPr lang="en-AU" sz="1600" kern="1200" dirty="0"/>
            <a:t> </a:t>
          </a:r>
          <a:r>
            <a:rPr lang="en-AU" sz="1600" kern="1200" dirty="0" err="1"/>
            <a:t>hô</a:t>
          </a:r>
          <a:r>
            <a:rPr lang="en-AU" sz="1600" kern="1200" dirty="0"/>
            <a:t> </a:t>
          </a:r>
          <a:r>
            <a:rPr lang="en-AU" sz="1600" kern="1200" dirty="0" err="1"/>
            <a:t>hấp</a:t>
          </a:r>
          <a:endParaRPr lang="en-AU" sz="1600" kern="1200" dirty="0"/>
        </a:p>
      </dsp:txBody>
      <dsp:txXfrm>
        <a:off x="32776" y="2435826"/>
        <a:ext cx="1702229" cy="825434"/>
      </dsp:txXfrm>
    </dsp:sp>
    <dsp:sp modelId="{3FCB8CF0-46DB-4113-994B-E52192E5892E}">
      <dsp:nvSpPr>
        <dsp:cNvPr id="0" name=""/>
        <dsp:cNvSpPr/>
      </dsp:nvSpPr>
      <dsp:spPr>
        <a:xfrm rot="18289469">
          <a:off x="1497256" y="2330535"/>
          <a:ext cx="1228295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1228295" y="1385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2080696" y="2313679"/>
        <a:ext cx="61414" cy="61414"/>
      </dsp:txXfrm>
    </dsp:sp>
    <dsp:sp modelId="{6853ECF8-5B79-4248-83E3-8E5A5C900B99}">
      <dsp:nvSpPr>
        <dsp:cNvPr id="0" name=""/>
        <dsp:cNvSpPr/>
      </dsp:nvSpPr>
      <dsp:spPr>
        <a:xfrm>
          <a:off x="2462121" y="1401832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Không</a:t>
          </a:r>
          <a:r>
            <a:rPr lang="en-AU" sz="1600" kern="1200" dirty="0"/>
            <a:t> </a:t>
          </a:r>
          <a:r>
            <a:rPr lang="en-AU" sz="1600" kern="1200" dirty="0" err="1"/>
            <a:t>có</a:t>
          </a:r>
          <a:r>
            <a:rPr lang="en-AU" sz="1600" kern="1200" dirty="0"/>
            <a:t> </a:t>
          </a:r>
          <a:r>
            <a:rPr lang="en-AU" sz="1600" kern="1200" dirty="0" err="1"/>
            <a:t>triệu</a:t>
          </a:r>
          <a:r>
            <a:rPr lang="en-AU" sz="1600" kern="1200" dirty="0"/>
            <a:t> </a:t>
          </a:r>
          <a:r>
            <a:rPr lang="en-AU" sz="1600" kern="1200" dirty="0" err="1"/>
            <a:t>chứng</a:t>
          </a:r>
          <a:r>
            <a:rPr lang="en-AU" sz="1600" kern="1200" dirty="0"/>
            <a:t> </a:t>
          </a:r>
          <a:r>
            <a:rPr lang="en-AU" sz="1600" kern="1200" dirty="0" err="1"/>
            <a:t>nghi</a:t>
          </a:r>
          <a:r>
            <a:rPr lang="en-AU" sz="1600" kern="1200" dirty="0"/>
            <a:t> </a:t>
          </a:r>
          <a:r>
            <a:rPr lang="en-AU" sz="1600" kern="1200" dirty="0" err="1"/>
            <a:t>lao</a:t>
          </a:r>
          <a:endParaRPr lang="en-AU" sz="1600" kern="1200" dirty="0"/>
        </a:p>
      </dsp:txBody>
      <dsp:txXfrm>
        <a:off x="2487801" y="1427512"/>
        <a:ext cx="1702229" cy="825434"/>
      </dsp:txXfrm>
    </dsp:sp>
    <dsp:sp modelId="{A161BCC3-D877-48FC-8ACA-E5F3A59FEE96}">
      <dsp:nvSpPr>
        <dsp:cNvPr id="0" name=""/>
        <dsp:cNvSpPr/>
      </dsp:nvSpPr>
      <dsp:spPr>
        <a:xfrm rot="19457599">
          <a:off x="4134519" y="1574300"/>
          <a:ext cx="863820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863820" y="138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4544834" y="1566555"/>
        <a:ext cx="43191" cy="43191"/>
      </dsp:txXfrm>
    </dsp:sp>
    <dsp:sp modelId="{98CF67C5-E6F7-4D40-BFC0-4350D39316CC}">
      <dsp:nvSpPr>
        <dsp:cNvPr id="0" name=""/>
        <dsp:cNvSpPr/>
      </dsp:nvSpPr>
      <dsp:spPr>
        <a:xfrm>
          <a:off x="4917147" y="897675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Người</a:t>
          </a:r>
          <a:r>
            <a:rPr lang="en-AU" sz="1600" kern="1200" dirty="0"/>
            <a:t> &gt;15 </a:t>
          </a:r>
          <a:r>
            <a:rPr lang="en-AU" sz="1600" kern="1200" dirty="0" err="1"/>
            <a:t>tuổi</a:t>
          </a:r>
          <a:r>
            <a:rPr lang="en-AU" sz="1600" kern="1200" dirty="0"/>
            <a:t>: Test </a:t>
          </a:r>
          <a:r>
            <a:rPr lang="en-AU" sz="1600" kern="1200" dirty="0" err="1"/>
            <a:t>Cúm</a:t>
          </a:r>
          <a:r>
            <a:rPr lang="en-AU" sz="1600" kern="1200" dirty="0"/>
            <a:t> ABRSV, COVID 19</a:t>
          </a:r>
        </a:p>
      </dsp:txBody>
      <dsp:txXfrm>
        <a:off x="4942827" y="923355"/>
        <a:ext cx="1702229" cy="825434"/>
      </dsp:txXfrm>
    </dsp:sp>
    <dsp:sp modelId="{FD4ECD9E-ECAD-4759-810A-CCE71A8ABA07}">
      <dsp:nvSpPr>
        <dsp:cNvPr id="0" name=""/>
        <dsp:cNvSpPr/>
      </dsp:nvSpPr>
      <dsp:spPr>
        <a:xfrm rot="2142401">
          <a:off x="4134519" y="2078457"/>
          <a:ext cx="863820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863820" y="138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4544834" y="2070712"/>
        <a:ext cx="43191" cy="43191"/>
      </dsp:txXfrm>
    </dsp:sp>
    <dsp:sp modelId="{077DFBD4-092A-48C0-97ED-50AB980A304C}">
      <dsp:nvSpPr>
        <dsp:cNvPr id="0" name=""/>
        <dsp:cNvSpPr/>
      </dsp:nvSpPr>
      <dsp:spPr>
        <a:xfrm>
          <a:off x="4917147" y="1905989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AU" sz="1600" kern="1200" dirty="0" err="1"/>
            <a:t>Trẻ</a:t>
          </a:r>
          <a:r>
            <a:rPr lang="en-AU" sz="1600" kern="1200" dirty="0"/>
            <a:t> &lt; 15 </a:t>
          </a:r>
          <a:r>
            <a:rPr lang="en-AU" sz="1600" kern="1200" dirty="0" err="1"/>
            <a:t>tuổi</a:t>
          </a:r>
          <a:r>
            <a:rPr lang="en-AU" sz="1600" kern="1200" dirty="0"/>
            <a:t>: XN </a:t>
          </a:r>
          <a:r>
            <a:rPr lang="en-AU" sz="1600" b="1" kern="1200" dirty="0"/>
            <a:t>them</a:t>
          </a:r>
          <a:r>
            <a:rPr lang="en-AU" sz="1600" kern="1200" dirty="0"/>
            <a:t> LCK </a:t>
          </a:r>
          <a:r>
            <a:rPr lang="en-AU" sz="1600" kern="1200" dirty="0" err="1"/>
            <a:t>nhóm</a:t>
          </a:r>
          <a:r>
            <a:rPr lang="en-AU" sz="1600" kern="1200" dirty="0"/>
            <a:t> A</a:t>
          </a:r>
        </a:p>
      </dsp:txBody>
      <dsp:txXfrm>
        <a:off x="4942827" y="1931669"/>
        <a:ext cx="1702229" cy="825434"/>
      </dsp:txXfrm>
    </dsp:sp>
    <dsp:sp modelId="{6E5C088A-8299-46E1-93B2-8328B79150F5}">
      <dsp:nvSpPr>
        <dsp:cNvPr id="0" name=""/>
        <dsp:cNvSpPr/>
      </dsp:nvSpPr>
      <dsp:spPr>
        <a:xfrm rot="3310531">
          <a:off x="1497256" y="3338849"/>
          <a:ext cx="1228295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1228295" y="1385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2080696" y="3321993"/>
        <a:ext cx="61414" cy="61414"/>
      </dsp:txXfrm>
    </dsp:sp>
    <dsp:sp modelId="{4BCB1C49-53FC-45AD-BA1A-35BE8378A9AF}">
      <dsp:nvSpPr>
        <dsp:cNvPr id="0" name=""/>
        <dsp:cNvSpPr/>
      </dsp:nvSpPr>
      <dsp:spPr>
        <a:xfrm>
          <a:off x="2462121" y="3418460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Có</a:t>
          </a:r>
          <a:r>
            <a:rPr lang="en-AU" sz="1600" kern="1200" dirty="0"/>
            <a:t> </a:t>
          </a:r>
          <a:r>
            <a:rPr lang="en-AU" sz="1600" kern="1200" dirty="0" err="1"/>
            <a:t>triệu</a:t>
          </a:r>
          <a:r>
            <a:rPr lang="en-AU" sz="1600" kern="1200" dirty="0"/>
            <a:t> </a:t>
          </a:r>
          <a:r>
            <a:rPr lang="en-AU" sz="1600" kern="1200" dirty="0" err="1"/>
            <a:t>chứng</a:t>
          </a:r>
          <a:r>
            <a:rPr lang="en-AU" sz="1600" kern="1200" dirty="0"/>
            <a:t> </a:t>
          </a:r>
          <a:r>
            <a:rPr lang="en-AU" sz="1600" kern="1200" dirty="0" err="1"/>
            <a:t>nghi</a:t>
          </a:r>
          <a:r>
            <a:rPr lang="en-AU" sz="1600" kern="1200" dirty="0"/>
            <a:t> </a:t>
          </a:r>
          <a:r>
            <a:rPr lang="en-AU" sz="1600" kern="1200" dirty="0" err="1"/>
            <a:t>lao</a:t>
          </a:r>
          <a:endParaRPr lang="en-AU" sz="1600" kern="1200" dirty="0"/>
        </a:p>
      </dsp:txBody>
      <dsp:txXfrm>
        <a:off x="2487801" y="3444140"/>
        <a:ext cx="1702229" cy="825434"/>
      </dsp:txXfrm>
    </dsp:sp>
    <dsp:sp modelId="{453F0CA6-6012-4FD5-BBFF-5B7F5893B540}">
      <dsp:nvSpPr>
        <dsp:cNvPr id="0" name=""/>
        <dsp:cNvSpPr/>
      </dsp:nvSpPr>
      <dsp:spPr>
        <a:xfrm rot="19457599">
          <a:off x="4134519" y="3590928"/>
          <a:ext cx="863820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863820" y="138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4544834" y="3583184"/>
        <a:ext cx="43191" cy="43191"/>
      </dsp:txXfrm>
    </dsp:sp>
    <dsp:sp modelId="{26B476C9-CD1C-47AA-ACA5-14A7D6E3A5F0}">
      <dsp:nvSpPr>
        <dsp:cNvPr id="0" name=""/>
        <dsp:cNvSpPr/>
      </dsp:nvSpPr>
      <dsp:spPr>
        <a:xfrm>
          <a:off x="4917147" y="2914303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/>
            <a:t>Thu </a:t>
          </a:r>
          <a:r>
            <a:rPr lang="en-AU" sz="1600" kern="1200" dirty="0" err="1"/>
            <a:t>mẫu</a:t>
          </a:r>
          <a:r>
            <a:rPr lang="en-AU" sz="1600" kern="1200" dirty="0"/>
            <a:t> </a:t>
          </a:r>
          <a:r>
            <a:rPr lang="en-AU" sz="1600" kern="1200" dirty="0" err="1"/>
            <a:t>đờm</a:t>
          </a:r>
          <a:endParaRPr lang="en-AU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Chuyển</a:t>
          </a:r>
          <a:r>
            <a:rPr lang="en-AU" sz="1600" kern="1200" dirty="0"/>
            <a:t> </a:t>
          </a:r>
          <a:r>
            <a:rPr lang="en-AU" sz="1600" kern="1200" dirty="0" err="1"/>
            <a:t>mẫu</a:t>
          </a:r>
          <a:r>
            <a:rPr lang="en-AU" sz="1600" kern="1200" dirty="0"/>
            <a:t> XN</a:t>
          </a:r>
        </a:p>
      </dsp:txBody>
      <dsp:txXfrm>
        <a:off x="4942827" y="2939983"/>
        <a:ext cx="1702229" cy="825434"/>
      </dsp:txXfrm>
    </dsp:sp>
    <dsp:sp modelId="{C05ED59C-067E-4612-9A96-79A4FEB295B8}">
      <dsp:nvSpPr>
        <dsp:cNvPr id="0" name=""/>
        <dsp:cNvSpPr/>
      </dsp:nvSpPr>
      <dsp:spPr>
        <a:xfrm>
          <a:off x="6670737" y="3338849"/>
          <a:ext cx="701435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701435" y="138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7003919" y="3335165"/>
        <a:ext cx="35071" cy="35071"/>
      </dsp:txXfrm>
    </dsp:sp>
    <dsp:sp modelId="{FCB118D6-DF5C-4012-94C2-1EBA6210A1F9}">
      <dsp:nvSpPr>
        <dsp:cNvPr id="0" name=""/>
        <dsp:cNvSpPr/>
      </dsp:nvSpPr>
      <dsp:spPr>
        <a:xfrm>
          <a:off x="7372173" y="2914303"/>
          <a:ext cx="2930809" cy="876794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AU" sz="1600" b="1" kern="1200" dirty="0">
              <a:solidFill>
                <a:schemeClr val="tx1"/>
              </a:solidFill>
            </a:rPr>
            <a:t>TTYT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thực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hiện</a:t>
          </a:r>
          <a:r>
            <a:rPr lang="en-AU" sz="1600" kern="1200" dirty="0">
              <a:solidFill>
                <a:schemeClr val="tx1"/>
              </a:solidFill>
            </a:rPr>
            <a:t> XN GeneXpert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AU" sz="1600" kern="1200" dirty="0" err="1">
              <a:solidFill>
                <a:schemeClr val="tx1"/>
              </a:solidFill>
            </a:rPr>
            <a:t>Chuyển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trả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kết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quả</a:t>
          </a:r>
          <a:r>
            <a:rPr lang="en-AU" sz="1600" kern="1200" dirty="0">
              <a:solidFill>
                <a:schemeClr val="tx1"/>
              </a:solidFill>
            </a:rPr>
            <a:t> </a:t>
          </a:r>
          <a:r>
            <a:rPr lang="en-AU" sz="1600" kern="1200" dirty="0" err="1">
              <a:solidFill>
                <a:schemeClr val="tx1"/>
              </a:solidFill>
            </a:rPr>
            <a:t>về</a:t>
          </a:r>
          <a:r>
            <a:rPr lang="en-AU" sz="1600" kern="1200" dirty="0">
              <a:solidFill>
                <a:schemeClr val="tx1"/>
              </a:solidFill>
            </a:rPr>
            <a:t> TYT</a:t>
          </a:r>
        </a:p>
      </dsp:txBody>
      <dsp:txXfrm>
        <a:off x="7397853" y="2939983"/>
        <a:ext cx="2879449" cy="825434"/>
      </dsp:txXfrm>
    </dsp:sp>
    <dsp:sp modelId="{B9AB50C5-3A66-4E26-8621-D76793161C1E}">
      <dsp:nvSpPr>
        <dsp:cNvPr id="0" name=""/>
        <dsp:cNvSpPr/>
      </dsp:nvSpPr>
      <dsp:spPr>
        <a:xfrm rot="2142401">
          <a:off x="4134519" y="4095085"/>
          <a:ext cx="863820" cy="27702"/>
        </a:xfrm>
        <a:custGeom>
          <a:avLst/>
          <a:gdLst/>
          <a:ahLst/>
          <a:cxnLst/>
          <a:rect l="0" t="0" r="0" b="0"/>
          <a:pathLst>
            <a:path>
              <a:moveTo>
                <a:pt x="0" y="13851"/>
              </a:moveTo>
              <a:lnTo>
                <a:pt x="863820" y="13851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AU" sz="500" kern="1200"/>
        </a:p>
      </dsp:txBody>
      <dsp:txXfrm>
        <a:off x="4544834" y="4087341"/>
        <a:ext cx="43191" cy="43191"/>
      </dsp:txXfrm>
    </dsp:sp>
    <dsp:sp modelId="{9074172F-F357-4340-8C99-CF90D484207A}">
      <dsp:nvSpPr>
        <dsp:cNvPr id="0" name=""/>
        <dsp:cNvSpPr/>
      </dsp:nvSpPr>
      <dsp:spPr>
        <a:xfrm>
          <a:off x="4917147" y="3922617"/>
          <a:ext cx="1753589" cy="87679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600" kern="1200" dirty="0" err="1"/>
            <a:t>Trả</a:t>
          </a:r>
          <a:r>
            <a:rPr lang="en-AU" sz="1600" kern="1200" dirty="0"/>
            <a:t> </a:t>
          </a:r>
          <a:r>
            <a:rPr lang="en-AU" sz="1600" kern="1200" dirty="0" err="1"/>
            <a:t>kết</a:t>
          </a:r>
          <a:r>
            <a:rPr lang="en-AU" sz="1600" kern="1200" dirty="0"/>
            <a:t> </a:t>
          </a:r>
          <a:r>
            <a:rPr lang="en-AU" sz="1600" kern="1200" dirty="0" err="1"/>
            <a:t>quả</a:t>
          </a:r>
          <a:r>
            <a:rPr lang="en-AU" sz="1600" kern="1200" dirty="0"/>
            <a:t> </a:t>
          </a:r>
          <a:r>
            <a:rPr lang="en-AU" sz="1600" kern="1200" dirty="0" err="1"/>
            <a:t>cho</a:t>
          </a:r>
          <a:r>
            <a:rPr lang="en-AU" sz="1600" kern="1200" dirty="0"/>
            <a:t> BN &amp; </a:t>
          </a:r>
          <a:r>
            <a:rPr lang="en-AU" sz="1600" kern="1200" dirty="0" err="1"/>
            <a:t>tư</a:t>
          </a:r>
          <a:r>
            <a:rPr lang="en-AU" sz="1600" kern="1200" dirty="0"/>
            <a:t> </a:t>
          </a:r>
          <a:r>
            <a:rPr lang="en-AU" sz="1600" kern="1200" dirty="0" err="1"/>
            <a:t>vấn</a:t>
          </a:r>
          <a:endParaRPr lang="en-AU" sz="1600" kern="1200" dirty="0"/>
        </a:p>
      </dsp:txBody>
      <dsp:txXfrm>
        <a:off x="4942827" y="3948297"/>
        <a:ext cx="1702229" cy="8254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D82966-3B58-447A-9B63-838F7C975ED9}">
      <dsp:nvSpPr>
        <dsp:cNvPr id="0" name=""/>
        <dsp:cNvSpPr/>
      </dsp:nvSpPr>
      <dsp:spPr>
        <a:xfrm>
          <a:off x="-6034486" y="-923349"/>
          <a:ext cx="7183611" cy="7183611"/>
        </a:xfrm>
        <a:prstGeom prst="blockArc">
          <a:avLst>
            <a:gd name="adj1" fmla="val 18900000"/>
            <a:gd name="adj2" fmla="val 2700000"/>
            <a:gd name="adj3" fmla="val 301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B72CF23-4819-4F08-A528-7EBC2C81F66D}">
      <dsp:nvSpPr>
        <dsp:cNvPr id="0" name=""/>
        <dsp:cNvSpPr/>
      </dsp:nvSpPr>
      <dsp:spPr>
        <a:xfrm>
          <a:off x="601429" y="410301"/>
          <a:ext cx="10429993" cy="821030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51693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23.000 test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COVID19, 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20.000 test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ú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A+B+ RVS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5000 test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hanh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liê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hó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A</a:t>
          </a:r>
        </a:p>
      </dsp:txBody>
      <dsp:txXfrm>
        <a:off x="601429" y="410301"/>
        <a:ext cx="10429993" cy="821030"/>
      </dsp:txXfrm>
    </dsp:sp>
    <dsp:sp modelId="{2D81D557-8183-4361-8AC1-AB5769D803E8}">
      <dsp:nvSpPr>
        <dsp:cNvPr id="0" name=""/>
        <dsp:cNvSpPr/>
      </dsp:nvSpPr>
      <dsp:spPr>
        <a:xfrm>
          <a:off x="88285" y="307673"/>
          <a:ext cx="1026288" cy="10262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16A9CE3F-B30E-47B0-9A3D-AB2BE900D671}">
      <dsp:nvSpPr>
        <dsp:cNvPr id="0" name=""/>
        <dsp:cNvSpPr/>
      </dsp:nvSpPr>
      <dsp:spPr>
        <a:xfrm>
          <a:off x="1072145" y="1642061"/>
          <a:ext cx="9959277" cy="821030"/>
        </a:xfrm>
        <a:prstGeom prst="rect">
          <a:avLst/>
        </a:prstGeom>
        <a:gradFill rotWithShape="0">
          <a:gsLst>
            <a:gs pos="0">
              <a:schemeClr val="accent4">
                <a:hueOff val="1896742"/>
                <a:satOff val="3398"/>
                <a:lumOff val="327"/>
                <a:alphaOff val="0"/>
                <a:tint val="50000"/>
                <a:satMod val="300000"/>
              </a:schemeClr>
            </a:gs>
            <a:gs pos="35000">
              <a:schemeClr val="accent4">
                <a:hueOff val="1896742"/>
                <a:satOff val="3398"/>
                <a:lumOff val="327"/>
                <a:alphaOff val="0"/>
                <a:tint val="37000"/>
                <a:satMod val="300000"/>
              </a:schemeClr>
            </a:gs>
            <a:gs pos="100000">
              <a:schemeClr val="accent4">
                <a:hueOff val="1896742"/>
                <a:satOff val="3398"/>
                <a:lumOff val="327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51693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3600 Cartridge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Xper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/MTB-RIF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Set up 2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hệ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hố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GeneXpert 4 module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ạ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khoa XN 2 TTYT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2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lưu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điệ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2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lắc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2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ủ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mát</a:t>
          </a:r>
          <a:endParaRPr lang="en-AU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072145" y="1642061"/>
        <a:ext cx="9959277" cy="821030"/>
      </dsp:txXfrm>
    </dsp:sp>
    <dsp:sp modelId="{D964F5CA-1B2E-40CC-9C04-7AE1EDD736E7}">
      <dsp:nvSpPr>
        <dsp:cNvPr id="0" name=""/>
        <dsp:cNvSpPr/>
      </dsp:nvSpPr>
      <dsp:spPr>
        <a:xfrm>
          <a:off x="559001" y="1539432"/>
          <a:ext cx="1026288" cy="10262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1896742"/>
              <a:satOff val="3398"/>
              <a:lumOff val="327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005D715B-62EE-4C45-8C26-BD13276B99AD}">
      <dsp:nvSpPr>
        <dsp:cNvPr id="0" name=""/>
        <dsp:cNvSpPr/>
      </dsp:nvSpPr>
      <dsp:spPr>
        <a:xfrm>
          <a:off x="1072145" y="2873820"/>
          <a:ext cx="9959277" cy="821030"/>
        </a:xfrm>
        <a:prstGeom prst="rect">
          <a:avLst/>
        </a:prstGeom>
        <a:gradFill rotWithShape="0">
          <a:gsLst>
            <a:gs pos="0">
              <a:schemeClr val="accent4">
                <a:hueOff val="3793483"/>
                <a:satOff val="6797"/>
                <a:lumOff val="654"/>
                <a:alphaOff val="0"/>
                <a:tint val="50000"/>
                <a:satMod val="300000"/>
              </a:schemeClr>
            </a:gs>
            <a:gs pos="35000">
              <a:schemeClr val="accent4">
                <a:hueOff val="3793483"/>
                <a:satOff val="6797"/>
                <a:lumOff val="654"/>
                <a:alphaOff val="0"/>
                <a:tint val="37000"/>
                <a:satMod val="300000"/>
              </a:schemeClr>
            </a:gs>
            <a:gs pos="100000">
              <a:schemeClr val="accent4">
                <a:hueOff val="3793483"/>
                <a:satOff val="6797"/>
                <a:lumOff val="654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51693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57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máy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ính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để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bà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CSYT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DA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à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liệu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ruyề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hô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: 55.000 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ờ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rơ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1000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pano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57 USB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hứa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bà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thanh</a:t>
          </a:r>
        </a:p>
      </dsp:txBody>
      <dsp:txXfrm>
        <a:off x="1072145" y="2873820"/>
        <a:ext cx="9959277" cy="821030"/>
      </dsp:txXfrm>
    </dsp:sp>
    <dsp:sp modelId="{F46BE978-011C-4A08-9C56-3001E51C5EA3}">
      <dsp:nvSpPr>
        <dsp:cNvPr id="0" name=""/>
        <dsp:cNvSpPr/>
      </dsp:nvSpPr>
      <dsp:spPr>
        <a:xfrm>
          <a:off x="559001" y="2771192"/>
          <a:ext cx="1026288" cy="10262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3793483"/>
              <a:satOff val="6797"/>
              <a:lumOff val="654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D8E0647C-C17D-4A4B-8A02-7481F60EACA9}">
      <dsp:nvSpPr>
        <dsp:cNvPr id="0" name=""/>
        <dsp:cNvSpPr/>
      </dsp:nvSpPr>
      <dsp:spPr>
        <a:xfrm>
          <a:off x="601429" y="4105580"/>
          <a:ext cx="10429993" cy="821030"/>
        </a:xfrm>
        <a:prstGeom prst="rect">
          <a:avLst/>
        </a:prstGeom>
        <a:gradFill rotWithShape="0">
          <a:gsLst>
            <a:gs pos="0">
              <a:schemeClr val="accent4">
                <a:hueOff val="5690225"/>
                <a:satOff val="10195"/>
                <a:lumOff val="981"/>
                <a:alphaOff val="0"/>
                <a:tint val="50000"/>
                <a:satMod val="300000"/>
              </a:schemeClr>
            </a:gs>
            <a:gs pos="35000">
              <a:schemeClr val="accent4">
                <a:hueOff val="5690225"/>
                <a:satOff val="10195"/>
                <a:lumOff val="981"/>
                <a:alphaOff val="0"/>
                <a:tint val="37000"/>
                <a:satMod val="300000"/>
              </a:schemeClr>
            </a:gs>
            <a:gs pos="100000">
              <a:schemeClr val="accent4">
                <a:hueOff val="5690225"/>
                <a:satOff val="10195"/>
                <a:lumOff val="98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51693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tiêu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hao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: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Ồ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falcon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gă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ay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ủ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rác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ước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sá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khuẩn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khẩu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ra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đó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gói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3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lớp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… </a:t>
          </a:r>
        </a:p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dụng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cụ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b="1" kern="1200" dirty="0" err="1">
              <a:latin typeface="Calibri" panose="020F0502020204030204" pitchFamily="34" charset="0"/>
              <a:cs typeface="Calibri" panose="020F0502020204030204" pitchFamily="34" charset="0"/>
            </a:rPr>
            <a:t>phòng</a:t>
          </a:r>
          <a:r>
            <a:rPr lang="en-AU" sz="1800" b="1" kern="1200" dirty="0">
              <a:latin typeface="Calibri" panose="020F0502020204030204" pitchFamily="34" charset="0"/>
              <a:cs typeface="Calibri" panose="020F0502020204030204" pitchFamily="34" charset="0"/>
            </a:rPr>
            <a:t> XN: 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Pocan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Đồ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hồ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bấ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giây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giá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đự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ống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1800" kern="1200" dirty="0">
              <a:latin typeface="Calibri" panose="020F0502020204030204" pitchFamily="34" charset="0"/>
              <a:cs typeface="Calibri" panose="020F0502020204030204" pitchFamily="34" charset="0"/>
            </a:rPr>
            <a:t>,…</a:t>
          </a:r>
        </a:p>
      </dsp:txBody>
      <dsp:txXfrm>
        <a:off x="601429" y="4105580"/>
        <a:ext cx="10429993" cy="821030"/>
      </dsp:txXfrm>
    </dsp:sp>
    <dsp:sp modelId="{267CE7E0-DCD0-4ECF-9210-8939ACD41A4C}">
      <dsp:nvSpPr>
        <dsp:cNvPr id="0" name=""/>
        <dsp:cNvSpPr/>
      </dsp:nvSpPr>
      <dsp:spPr>
        <a:xfrm>
          <a:off x="88285" y="4002951"/>
          <a:ext cx="1026288" cy="102628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hueOff val="5690225"/>
              <a:satOff val="10195"/>
              <a:lumOff val="98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5B7101-7FD4-4243-A209-D8B7DCA12A2F}">
      <dsp:nvSpPr>
        <dsp:cNvPr id="0" name=""/>
        <dsp:cNvSpPr/>
      </dsp:nvSpPr>
      <dsp:spPr>
        <a:xfrm rot="5400000">
          <a:off x="5885100" y="-2133829"/>
          <a:ext cx="2180213" cy="6980326"/>
        </a:xfrm>
        <a:prstGeom prst="round2SameRect">
          <a:avLst/>
        </a:prstGeom>
        <a:solidFill>
          <a:srgbClr val="D8E7F8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CBYT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o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iệ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ọ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ỉ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định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XN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o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bệnh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ân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Đảm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hất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lượng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tính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đồng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nhất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hoạt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động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lọc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giữa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CSY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ô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ụ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o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quả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ý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ố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iệ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ính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x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iệ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quả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3485044" y="372656"/>
        <a:ext cx="6873897" cy="1967355"/>
      </dsp:txXfrm>
    </dsp:sp>
    <dsp:sp modelId="{EFE7F98F-E9A6-429D-B3D1-45C304F193E2}">
      <dsp:nvSpPr>
        <dsp:cNvPr id="0" name=""/>
        <dsp:cNvSpPr/>
      </dsp:nvSpPr>
      <dsp:spPr>
        <a:xfrm>
          <a:off x="441390" y="2700"/>
          <a:ext cx="3043653" cy="2707266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400" b="1" kern="1200" dirty="0">
              <a:solidFill>
                <a:schemeClr val="tx1"/>
              </a:solidFill>
            </a:rPr>
            <a:t>#1: </a:t>
          </a:r>
          <a:r>
            <a:rPr lang="en-US" sz="2400" b="1" i="0" kern="120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Sử</a:t>
          </a:r>
          <a:r>
            <a:rPr lang="en-US" sz="2400" b="1" i="0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dụng</a:t>
          </a:r>
          <a:r>
            <a:rPr lang="en-US" sz="2400" b="1" i="0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phần</a:t>
          </a:r>
          <a:r>
            <a:rPr lang="en-US" sz="2400" b="1" i="0" kern="1200" dirty="0">
              <a:solidFill>
                <a:schemeClr val="tx1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chemeClr val="tx1"/>
              </a:solidFill>
              <a:effectLst/>
              <a:latin typeface="Calibri" panose="020F0502020204030204" pitchFamily="34" charset="0"/>
            </a:rPr>
            <a:t>mềm</a:t>
          </a:r>
          <a:endParaRPr lang="en-AU" sz="2400" kern="1200" dirty="0">
            <a:solidFill>
              <a:schemeClr val="tx1"/>
            </a:solidFill>
          </a:endParaRPr>
        </a:p>
      </dsp:txBody>
      <dsp:txXfrm>
        <a:off x="573548" y="134858"/>
        <a:ext cx="2779337" cy="2442950"/>
      </dsp:txXfrm>
    </dsp:sp>
    <dsp:sp modelId="{5DD5B918-B151-4625-8367-7ECA7EDBBA14}">
      <dsp:nvSpPr>
        <dsp:cNvPr id="0" name=""/>
        <dsp:cNvSpPr/>
      </dsp:nvSpPr>
      <dsp:spPr>
        <a:xfrm rot="5400000">
          <a:off x="5941757" y="654030"/>
          <a:ext cx="2005568" cy="6980326"/>
        </a:xfrm>
        <a:prstGeom prst="round2SameRect">
          <a:avLst/>
        </a:prstGeom>
        <a:solidFill>
          <a:srgbClr val="D8E7F8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ậ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ậ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ộ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&amp;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ị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hờ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ắ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phụ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ó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ă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ướ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ắ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ủa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ơ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ị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iể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ai</a:t>
          </a:r>
          <a:endParaRPr lang="en-AU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à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ơ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ộ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ể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CSYT chia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ẻ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inh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ghiệm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iể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a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ề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xuấ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o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muố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ể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â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ao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iệ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ộng</a:t>
          </a:r>
          <a:endParaRPr lang="en-AU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ậ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ượ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ự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hỉ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đạo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ý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ướ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dẫ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ị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hờ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ừ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quả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ý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DA</a:t>
          </a:r>
          <a:endParaRPr lang="en-US" sz="2000" b="0" i="0" kern="1200" dirty="0">
            <a:solidFill>
              <a:srgbClr val="000000"/>
            </a:solidFill>
            <a:effectLst/>
            <a:latin typeface="Segoe UI" panose="020B0502040204020203" pitchFamily="34" charset="0"/>
          </a:endParaRPr>
        </a:p>
      </dsp:txBody>
      <dsp:txXfrm rot="-5400000">
        <a:off x="3454378" y="3239313"/>
        <a:ext cx="6882422" cy="1809760"/>
      </dsp:txXfrm>
    </dsp:sp>
    <dsp:sp modelId="{92E20515-9A1F-4934-852D-2AFD3B9CA6CD}">
      <dsp:nvSpPr>
        <dsp:cNvPr id="0" name=""/>
        <dsp:cNvSpPr/>
      </dsp:nvSpPr>
      <dsp:spPr>
        <a:xfrm>
          <a:off x="441390" y="2872421"/>
          <a:ext cx="3012988" cy="2543545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2</a:t>
          </a:r>
          <a:r>
            <a:rPr lang="en-US" sz="24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: 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Giao ban online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àng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uần</a:t>
          </a:r>
          <a:endParaRPr lang="en-AU" sz="2400" kern="1200" dirty="0"/>
        </a:p>
      </dsp:txBody>
      <dsp:txXfrm>
        <a:off x="565556" y="2996587"/>
        <a:ext cx="2764656" cy="229521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823791-95D4-4954-8CAF-DD342AB657BB}">
      <dsp:nvSpPr>
        <dsp:cNvPr id="0" name=""/>
        <dsp:cNvSpPr/>
      </dsp:nvSpPr>
      <dsp:spPr>
        <a:xfrm rot="5400000">
          <a:off x="5893287" y="-2067274"/>
          <a:ext cx="2114550" cy="6777868"/>
        </a:xfrm>
        <a:prstGeom prst="round2SameRect">
          <a:avLst/>
        </a:prstGeom>
        <a:solidFill>
          <a:srgbClr val="FFE6AF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24/7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âm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à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gia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BV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ổ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TƯ, BV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ổ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à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ội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ầ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mềm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gia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echUp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ỗ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ợ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hiế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kh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ừ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DA 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3561628" y="367609"/>
        <a:ext cx="6674644" cy="1908102"/>
      </dsp:txXfrm>
    </dsp:sp>
    <dsp:sp modelId="{BFFDE97E-A90D-4280-A7FA-400F13C65E43}">
      <dsp:nvSpPr>
        <dsp:cNvPr id="0" name=""/>
        <dsp:cNvSpPr/>
      </dsp:nvSpPr>
      <dsp:spPr>
        <a:xfrm>
          <a:off x="249741" y="66"/>
          <a:ext cx="3311886" cy="2643187"/>
        </a:xfrm>
        <a:prstGeom prst="roundRect">
          <a:avLst/>
        </a:prstGeom>
        <a:solidFill>
          <a:srgbClr val="F0DCC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3</a:t>
          </a:r>
          <a:r>
            <a:rPr lang="en-US" sz="24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: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ết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ối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Zalo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ung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ỗ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ợ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24/7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ho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ác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CSYT</a:t>
          </a:r>
          <a:endParaRPr lang="en-AU" sz="2400" kern="1200" dirty="0"/>
        </a:p>
      </dsp:txBody>
      <dsp:txXfrm>
        <a:off x="378771" y="129096"/>
        <a:ext cx="3053826" cy="2385127"/>
      </dsp:txXfrm>
    </dsp:sp>
    <dsp:sp modelId="{D4144979-68CA-437E-B51D-245C87F66AD0}">
      <dsp:nvSpPr>
        <dsp:cNvPr id="0" name=""/>
        <dsp:cNvSpPr/>
      </dsp:nvSpPr>
      <dsp:spPr>
        <a:xfrm rot="5400000">
          <a:off x="5894469" y="708072"/>
          <a:ext cx="2114550" cy="6777868"/>
        </a:xfrm>
        <a:prstGeom prst="round2SameRect">
          <a:avLst/>
        </a:prstGeom>
        <a:solidFill>
          <a:srgbClr val="FFE6AF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Khảo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á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ậ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ư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iê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ao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để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ấ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ù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nh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cầu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sử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dụ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tránh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lãng</a:t>
          </a:r>
          <a:r>
            <a:rPr lang="en-US" sz="2000" b="0" i="0" kern="1200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b="0" i="0" kern="120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rPr>
            <a:t>phí</a:t>
          </a:r>
          <a:endParaRPr lang="en-AU" sz="20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ấp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phát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test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xét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nghiệm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theo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khả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năng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triển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khai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CSYT (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nhờ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phần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AU" sz="2000" kern="1200" dirty="0" err="1">
              <a:latin typeface="Calibri" panose="020F0502020204030204" pitchFamily="34" charset="0"/>
              <a:cs typeface="Calibri" panose="020F0502020204030204" pitchFamily="34" charset="0"/>
            </a:rPr>
            <a:t>mềm</a:t>
          </a:r>
          <a:r>
            <a:rPr lang="en-AU" sz="2000" kern="1200" dirty="0">
              <a:latin typeface="Calibri" panose="020F0502020204030204" pitchFamily="34" charset="0"/>
              <a:cs typeface="Calibri" panose="020F0502020204030204" pitchFamily="34" charset="0"/>
            </a:rPr>
            <a:t> TBCOVID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800" b="0" i="0" kern="1200" dirty="0">
            <a:solidFill>
              <a:srgbClr val="000000"/>
            </a:solidFill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-5400000">
        <a:off x="3562810" y="3142955"/>
        <a:ext cx="6674644" cy="1908102"/>
      </dsp:txXfrm>
    </dsp:sp>
    <dsp:sp modelId="{D2CBF05B-AA10-4505-B3F0-11A9FD6E4CF4}">
      <dsp:nvSpPr>
        <dsp:cNvPr id="0" name=""/>
        <dsp:cNvSpPr/>
      </dsp:nvSpPr>
      <dsp:spPr>
        <a:xfrm>
          <a:off x="249741" y="2775413"/>
          <a:ext cx="3313068" cy="2643187"/>
        </a:xfrm>
        <a:prstGeom prst="roundRect">
          <a:avLst/>
        </a:prstGeom>
        <a:solidFill>
          <a:srgbClr val="F0DCC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# 4: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Khảo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sát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nhu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ầu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&amp;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linh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oạt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rong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cấp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phát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test &amp;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vật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ư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tiêu</a:t>
          </a:r>
          <a:r>
            <a:rPr lang="en-US" sz="2400" b="1" i="0" kern="1200" dirty="0">
              <a:solidFill>
                <a:srgbClr val="000000"/>
              </a:solidFill>
              <a:effectLst/>
              <a:latin typeface="Calibri" panose="020F0502020204030204" pitchFamily="34" charset="0"/>
            </a:rPr>
            <a:t> </a:t>
          </a:r>
          <a:r>
            <a:rPr lang="en-US" sz="2400" b="1" i="0" kern="1200" dirty="0" err="1">
              <a:solidFill>
                <a:srgbClr val="000000"/>
              </a:solidFill>
              <a:effectLst/>
              <a:latin typeface="Calibri" panose="020F0502020204030204" pitchFamily="34" charset="0"/>
            </a:rPr>
            <a:t>hao</a:t>
          </a:r>
          <a:endParaRPr lang="en-AU" sz="2400" kern="1200" dirty="0"/>
        </a:p>
      </dsp:txBody>
      <dsp:txXfrm>
        <a:off x="378771" y="2904443"/>
        <a:ext cx="3055008" cy="23851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0AD58B-399D-054B-9106-83359BF5E9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C1209A-37E3-104D-A696-CE56C86A59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484AE-AF15-CA4B-999E-0CF4799BC5F7}" type="datetimeFigureOut">
              <a:rPr lang="en-GB" smtClean="0"/>
              <a:t>02/08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6C43993-7BA2-0E48-83A6-D0230E658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D21F3FA-3EA4-8D47-A5D0-1CF3BCB659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02C6D-8DBA-E24B-AF6A-A1ECB89B13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85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6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26FF-3E55-475B-A653-864594870954}" type="datetimeFigureOut">
              <a:rPr lang="en-US" smtClean="0"/>
              <a:t>8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006" y="3271517"/>
            <a:ext cx="7940628" cy="2676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6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318DB-F457-434B-AF38-9C9D2D24F7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45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2064145" y="1826637"/>
            <a:ext cx="8781063" cy="3003438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2416894" y="3220583"/>
            <a:ext cx="0" cy="716276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2183548" y="1722123"/>
            <a:ext cx="8598761" cy="23552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60814" y="1883917"/>
            <a:ext cx="8114274" cy="199193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7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182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2580887" y="2900834"/>
            <a:ext cx="7498777" cy="200026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75594" y="3042846"/>
            <a:ext cx="7099137" cy="1754259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/>
              <a:t>#</a:t>
            </a:r>
            <a:endParaRPr lang="en-GB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6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658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arcador de texto 11">
            <a:extLst>
              <a:ext uri="{FF2B5EF4-FFF2-40B4-BE49-F238E27FC236}">
                <a16:creationId xmlns:a16="http://schemas.microsoft.com/office/drawing/2014/main" id="{C8ABE6D1-6F90-5143-9E46-81A6567A50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90432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3852" y="480075"/>
            <a:ext cx="4212000" cy="308122"/>
          </a:xfrm>
        </p:spPr>
        <p:txBody>
          <a:bodyPr anchor="b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40452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4363278" y="1782026"/>
            <a:ext cx="6866195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4493767" y="1540560"/>
            <a:ext cx="7314734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1" y="2"/>
            <a:ext cx="4045225" cy="6689033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endParaRPr lang="en-GB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93766" y="1540560"/>
            <a:ext cx="6866195" cy="4498759"/>
          </a:xfrm>
        </p:spPr>
        <p:txBody>
          <a:bodyPr anchor="ctr"/>
          <a:lstStyle/>
          <a:p>
            <a:pPr lvl="0"/>
            <a:r>
              <a:rPr lang="es-ES" dirty="0"/>
              <a:t>Haga clic para modificar los estilos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24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68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591304"/>
            <a:ext cx="10440000" cy="381159"/>
          </a:xfrm>
        </p:spPr>
        <p:txBody>
          <a:bodyPr anchor="ctr"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5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/>
              <a:t>Haga clic para modificar los estilos de texto del patrón</a:t>
            </a:r>
          </a:p>
          <a:p>
            <a:pPr lvl="1"/>
            <a:r>
              <a:rPr lang="en-US" noProof="0"/>
              <a:t>Segundo nivel</a:t>
            </a:r>
          </a:p>
          <a:p>
            <a:pPr lvl="2"/>
            <a:r>
              <a:rPr lang="en-US" noProof="0"/>
              <a:t>Tercer nivel</a:t>
            </a:r>
          </a:p>
          <a:p>
            <a:pPr lvl="3"/>
            <a:r>
              <a:rPr lang="en-US" noProof="0"/>
              <a:t>Cuarto nivel</a:t>
            </a:r>
          </a:p>
          <a:p>
            <a:pPr lvl="4"/>
            <a:r>
              <a:rPr lang="en-US" noProof="0"/>
              <a:t>Quinto nivel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err="1"/>
              <a:t>Haga</a:t>
            </a:r>
            <a:r>
              <a:rPr lang="en-US" noProof="0"/>
              <a:t> </a:t>
            </a:r>
            <a:r>
              <a:rPr lang="en-US" noProof="0" err="1"/>
              <a:t>clic</a:t>
            </a:r>
            <a:r>
              <a:rPr lang="en-US" noProof="0"/>
              <a:t> para </a:t>
            </a:r>
            <a:r>
              <a:rPr lang="en-US" noProof="0" err="1"/>
              <a:t>modificar</a:t>
            </a:r>
            <a:r>
              <a:rPr lang="en-US" noProof="0"/>
              <a:t> los </a:t>
            </a:r>
            <a:r>
              <a:rPr lang="en-US" noProof="0" err="1"/>
              <a:t>estilos</a:t>
            </a:r>
            <a:r>
              <a:rPr lang="en-US" noProof="0"/>
              <a:t> de </a:t>
            </a:r>
            <a:r>
              <a:rPr lang="en-US" noProof="0" err="1"/>
              <a:t>texto</a:t>
            </a:r>
            <a:r>
              <a:rPr lang="en-US" noProof="0"/>
              <a:t> del </a:t>
            </a:r>
            <a:r>
              <a:rPr lang="en-US" noProof="0" err="1"/>
              <a:t>patrón</a:t>
            </a:r>
            <a:endParaRPr lang="en-US" noProof="0"/>
          </a:p>
          <a:p>
            <a:pPr lvl="1"/>
            <a:r>
              <a:rPr lang="en-US" noProof="0"/>
              <a:t>Segundo </a:t>
            </a:r>
            <a:r>
              <a:rPr lang="en-US" noProof="0" err="1"/>
              <a:t>nivel</a:t>
            </a:r>
            <a:endParaRPr lang="en-US" noProof="0"/>
          </a:p>
          <a:p>
            <a:pPr lvl="2"/>
            <a:r>
              <a:rPr lang="en-US" noProof="0" err="1"/>
              <a:t>Tercer</a:t>
            </a:r>
            <a:r>
              <a:rPr lang="en-US" noProof="0"/>
              <a:t> </a:t>
            </a:r>
            <a:r>
              <a:rPr lang="en-US" noProof="0" err="1"/>
              <a:t>nivel</a:t>
            </a:r>
            <a:endParaRPr lang="en-US" noProof="0"/>
          </a:p>
          <a:p>
            <a:pPr lvl="3"/>
            <a:r>
              <a:rPr lang="en-US" noProof="0"/>
              <a:t>Cuarto </a:t>
            </a:r>
            <a:r>
              <a:rPr lang="en-US" noProof="0" err="1"/>
              <a:t>nivel</a:t>
            </a:r>
            <a:endParaRPr lang="en-US" noProof="0"/>
          </a:p>
          <a:p>
            <a:pPr lvl="4"/>
            <a:r>
              <a:rPr lang="en-US" noProof="0"/>
              <a:t>Quinto </a:t>
            </a:r>
            <a:r>
              <a:rPr lang="en-US" noProof="0" err="1"/>
              <a:t>nivel</a:t>
            </a:r>
            <a:endParaRPr lang="en-US" noProof="0"/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amet</a:t>
            </a:r>
          </a:p>
        </p:txBody>
      </p:sp>
    </p:spTree>
    <p:extLst>
      <p:ext uri="{BB962C8B-B14F-4D97-AF65-F5344CB8AC3E}">
        <p14:creationId xmlns:p14="http://schemas.microsoft.com/office/powerpoint/2010/main" val="267146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slid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/>
              <a:t>Lorem ipsum dolor sit </a:t>
            </a:r>
            <a:r>
              <a:rPr lang="en-US" noProof="0" err="1"/>
              <a:t>amet</a:t>
            </a:r>
            <a:endParaRPr lang="en-US" noProof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5646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44336" y="480075"/>
            <a:ext cx="9360000" cy="308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34863" y="-19547"/>
            <a:ext cx="1796716" cy="898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476" r:id="rId3"/>
    <p:sldLayoutId id="2147485495" r:id="rId4"/>
    <p:sldLayoutId id="2147485490" r:id="rId5"/>
    <p:sldLayoutId id="2147485491" r:id="rId6"/>
    <p:sldLayoutId id="2147485494" r:id="rId7"/>
    <p:sldLayoutId id="2147485492" r:id="rId8"/>
    <p:sldLayoutId id="2147485493" r:id="rId9"/>
    <p:sldLayoutId id="2147485496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12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16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6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6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diagramLayout" Target="../diagrams/layout4.xml"/><Relationship Id="rId7" Type="http://schemas.openxmlformats.org/officeDocument/2006/relationships/image" Target="../media/image46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4.xml"/><Relationship Id="rId11" Type="http://schemas.openxmlformats.org/officeDocument/2006/relationships/image" Target="../media/image50.jpeg"/><Relationship Id="rId5" Type="http://schemas.openxmlformats.org/officeDocument/2006/relationships/diagramColors" Target="../diagrams/colors4.xml"/><Relationship Id="rId10" Type="http://schemas.openxmlformats.org/officeDocument/2006/relationships/image" Target="../media/image49.jpeg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48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0B1C58-A683-4AB6-B409-E1FE19A06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1756" y="1883917"/>
            <a:ext cx="8663552" cy="2223134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AU" b="1" dirty="0">
                <a:latin typeface="Calibri" panose="020F0502020204030204" pitchFamily="34" charset="0"/>
                <a:cs typeface="Calibri" panose="020F0502020204030204" pitchFamily="34" charset="0"/>
              </a:rPr>
              <a:t>BÁO CÁO DỰ ÁN</a:t>
            </a:r>
            <a:br>
              <a:rPr lang="en-AU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AU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vi-VN" sz="3200" dirty="0">
                <a:latin typeface="Calibri" panose="020F0502020204030204" pitchFamily="34" charset="0"/>
                <a:cs typeface="Calibri" panose="020F0502020204030204" pitchFamily="34" charset="0"/>
              </a:rPr>
              <a:t>sàng lọc b</a:t>
            </a:r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Ệ</a:t>
            </a:r>
            <a:r>
              <a:rPr lang="vi-VN" sz="3200" dirty="0">
                <a:latin typeface="Calibri" panose="020F0502020204030204" pitchFamily="34" charset="0"/>
                <a:cs typeface="Calibri" panose="020F0502020204030204" pitchFamily="34" charset="0"/>
              </a:rPr>
              <a:t>nh lao</a:t>
            </a:r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, COVID 19 &amp; MỘT SỐ BỆNH NHIỄM TRÙNG ĐƯỜNG HÔ HẤP </a:t>
            </a:r>
            <a:b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PHỔ BIẾN TẠI TUYẾN YTCS Ở VIỆT NAM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2220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EB6B94B-8C5C-42CF-BD06-425811832B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PHẦN MỀM TBCOVID (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472EB7-D126-4687-AF94-FCDC4DCEB27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66465" y="2257271"/>
            <a:ext cx="4446269" cy="4260249"/>
          </a:xfrm>
          <a:prstGeom prst="rect">
            <a:avLst/>
          </a:prstGeom>
        </p:spPr>
      </p:pic>
      <p:sp>
        <p:nvSpPr>
          <p:cNvPr id="5" name="Google Shape;1437;p40">
            <a:extLst>
              <a:ext uri="{FF2B5EF4-FFF2-40B4-BE49-F238E27FC236}">
                <a16:creationId xmlns:a16="http://schemas.microsoft.com/office/drawing/2014/main" id="{E4587DA5-D29D-42A4-B3F9-EF40F88C82A7}"/>
              </a:ext>
            </a:extLst>
          </p:cNvPr>
          <p:cNvSpPr txBox="1">
            <a:spLocks/>
          </p:cNvSpPr>
          <p:nvPr/>
        </p:nvSpPr>
        <p:spPr>
          <a:xfrm>
            <a:off x="7018020" y="1144571"/>
            <a:ext cx="4594714" cy="93887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 XN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ậ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ư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iề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ố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es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ự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ừ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SY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1EC5817-3533-4EA4-B513-483863E393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7389" y="2257271"/>
            <a:ext cx="4895849" cy="2948190"/>
          </a:xfrm>
          <a:prstGeom prst="rect">
            <a:avLst/>
          </a:prstGeom>
        </p:spPr>
      </p:pic>
      <p:sp>
        <p:nvSpPr>
          <p:cNvPr id="9" name="Google Shape;1437;p40">
            <a:extLst>
              <a:ext uri="{FF2B5EF4-FFF2-40B4-BE49-F238E27FC236}">
                <a16:creationId xmlns:a16="http://schemas.microsoft.com/office/drawing/2014/main" id="{557BA12F-126F-4B1C-89AC-ED135C94E2B4}"/>
              </a:ext>
            </a:extLst>
          </p:cNvPr>
          <p:cNvSpPr txBox="1">
            <a:spLocks/>
          </p:cNvSpPr>
          <p:nvPr/>
        </p:nvSpPr>
        <p:spPr>
          <a:xfrm>
            <a:off x="727389" y="1304818"/>
            <a:ext cx="4895849" cy="52669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ạ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ộ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ờ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à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ộ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SYT</a:t>
            </a: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289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E0BF7C-05C5-478D-B24E-6B1D178133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2. XÂY DỰNG TÀI LIỆU DỰ Á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776430-F8A9-4E5A-A7F9-42BE751FE4C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1054" y="1436306"/>
            <a:ext cx="1920153" cy="276728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AC10275-EB5E-43E4-AE70-5FD655C9CE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5798" y="1440180"/>
            <a:ext cx="2043239" cy="27672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C7F3493-2EDC-4D0C-B666-2CB03F94C94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191" y="1440180"/>
            <a:ext cx="3033221" cy="214792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02FCAA-26C2-4DDA-A515-6F33F8D43B3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191" y="3588108"/>
            <a:ext cx="3033221" cy="19955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29E9FC9-FCF0-44BA-A4BD-0E449F792FF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186" y="4585878"/>
            <a:ext cx="1459230" cy="2057619"/>
          </a:xfrm>
          <a:prstGeom prst="rect">
            <a:avLst/>
          </a:prstGeom>
        </p:spPr>
      </p:pic>
      <p:sp>
        <p:nvSpPr>
          <p:cNvPr id="11" name="Google Shape;1437;p40">
            <a:extLst>
              <a:ext uri="{FF2B5EF4-FFF2-40B4-BE49-F238E27FC236}">
                <a16:creationId xmlns:a16="http://schemas.microsoft.com/office/drawing/2014/main" id="{56CAAE3B-6117-4386-9284-A5C3AC0F73CD}"/>
              </a:ext>
            </a:extLst>
          </p:cNvPr>
          <p:cNvSpPr txBox="1">
            <a:spLocks/>
          </p:cNvSpPr>
          <p:nvPr/>
        </p:nvSpPr>
        <p:spPr>
          <a:xfrm>
            <a:off x="3319989" y="1890456"/>
            <a:ext cx="4233232" cy="3693192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y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y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YT &amp; TTYT</a:t>
            </a:r>
          </a:p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y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ét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ghiệm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a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ú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-B-RSV, COVID-19, LCK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</a:t>
            </a:r>
          </a:p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ài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uyề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n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01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ẫ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ờ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ơ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04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à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anh</a:t>
            </a:r>
          </a:p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ài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ệu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ướ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ẫ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ử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í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ươ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ú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-B-RSV, LCK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, COVID 19</a:t>
            </a:r>
          </a:p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per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ươ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ợ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ư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ướ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ẫ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TCLQG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DF7904C-1293-47F2-90BE-B9C57300914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39435" y="3287663"/>
            <a:ext cx="2043239" cy="2913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0071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D84A0D-25B8-4F41-B55E-C7068E1A1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endParaRPr lang="en-AU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4F7A9F19-9774-4139-8AEE-D7174A0B0B9B}"/>
              </a:ext>
            </a:extLst>
          </p:cNvPr>
          <p:cNvSpPr txBox="1">
            <a:spLocks/>
          </p:cNvSpPr>
          <p:nvPr/>
        </p:nvSpPr>
        <p:spPr>
          <a:xfrm>
            <a:off x="754871" y="1146083"/>
            <a:ext cx="6369030" cy="210220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ớp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ỹ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uật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pert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MTB RIF &amp;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ứ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ỉ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à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ạ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ục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57238" lvl="1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ọc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ê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ộ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é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ghiệ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TTYT</a:t>
            </a:r>
          </a:p>
          <a:p>
            <a:pPr marL="757238" lvl="1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ả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ê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oa Vi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ẩ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G</a:t>
            </a:r>
          </a:p>
        </p:txBody>
      </p:sp>
      <p:pic>
        <p:nvPicPr>
          <p:cNvPr id="9" name="Picture 8" descr="A few people in lab coats&#10;&#10;Description automatically generated">
            <a:extLst>
              <a:ext uri="{FF2B5EF4-FFF2-40B4-BE49-F238E27FC236}">
                <a16:creationId xmlns:a16="http://schemas.microsoft.com/office/drawing/2014/main" id="{FFC4B68C-B6B2-42BD-8494-890E95BCD61C}"/>
              </a:ext>
            </a:extLst>
          </p:cNvPr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970" y="3882149"/>
            <a:ext cx="3767455" cy="247232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35065A5-8237-449F-B624-BEAE1DE6051F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0201" y="3882149"/>
            <a:ext cx="3343910" cy="2466339"/>
          </a:xfrm>
          <a:prstGeom prst="rect">
            <a:avLst/>
          </a:prstGeom>
          <a:noFill/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4090029-2F63-4D00-A218-3E16A6572DCD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3219" y="1566063"/>
            <a:ext cx="3343910" cy="2246630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97080B9-6D66-42CA-88FC-DE0AA3199D1E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0168" y="3882149"/>
            <a:ext cx="3336290" cy="24663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355317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D84A0D-25B8-4F41-B55E-C7068E1A1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4F7A9F19-9774-4139-8AEE-D7174A0B0B9B}"/>
              </a:ext>
            </a:extLst>
          </p:cNvPr>
          <p:cNvSpPr txBox="1">
            <a:spLocks/>
          </p:cNvSpPr>
          <p:nvPr/>
        </p:nvSpPr>
        <p:spPr>
          <a:xfrm>
            <a:off x="488970" y="1387673"/>
            <a:ext cx="11058694" cy="173271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ớp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757238" lvl="1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ọc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ên</a:t>
            </a:r>
            <a:r>
              <a:rPr lang="en-US" sz="2000" b="1" dirty="0">
                <a:solidFill>
                  <a:srgbClr val="2F5E8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ơ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20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ộ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ế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uộ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 T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757238" lvl="1" indent="-342900" algn="just"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ảng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y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V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ổ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Ư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y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V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ổ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N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y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IN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043E7D-D6E9-4670-8900-B561A186BBB1}"/>
              </a:ext>
            </a:extLst>
          </p:cNvPr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9606" y="3524687"/>
            <a:ext cx="4271746" cy="2378402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9E7DFD9-BD6C-4024-97F7-8FDEB23555B0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39215" y="3524687"/>
            <a:ext cx="3586718" cy="237840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937156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D84A0D-25B8-4F41-B55E-C7068E1A1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4F7A9F19-9774-4139-8AEE-D7174A0B0B9B}"/>
              </a:ext>
            </a:extLst>
          </p:cNvPr>
          <p:cNvSpPr txBox="1">
            <a:spLocks/>
          </p:cNvSpPr>
          <p:nvPr/>
        </p:nvSpPr>
        <p:spPr>
          <a:xfrm>
            <a:off x="566653" y="1393746"/>
            <a:ext cx="6679099" cy="4196826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0" indent="-457200">
              <a:spcBef>
                <a:spcPts val="600"/>
              </a:spcBef>
              <a:spcAft>
                <a:spcPts val="0"/>
              </a:spcAft>
              <a:buClr>
                <a:srgbClr val="002060"/>
              </a:buClr>
              <a:buFont typeface="Wingdings" panose="05000000000000000000" pitchFamily="2" charset="2"/>
              <a:buChar char="Ø"/>
            </a:pP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ội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ung </a:t>
            </a: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809625" lvl="0" indent="-277813"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y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iều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ị</a:t>
            </a: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1092200" lvl="1" indent="-285750">
              <a:spcBef>
                <a:spcPts val="600"/>
              </a:spcBef>
              <a:spcAft>
                <a:spcPts val="0"/>
              </a:spcAft>
            </a:pP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</a:p>
          <a:p>
            <a:pPr marL="1092200" lvl="1" indent="-285750">
              <a:spcBef>
                <a:spcPts val="600"/>
              </a:spcBef>
              <a:spcAft>
                <a:spcPts val="0"/>
              </a:spcAft>
            </a:pP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VID-19</a:t>
            </a:r>
            <a:r>
              <a:rPr lang="vi-VN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092200" lvl="1" indent="-285750">
              <a:spcBef>
                <a:spcPts val="600"/>
              </a:spcBef>
              <a:spcAft>
                <a:spcPts val="0"/>
              </a:spcAft>
            </a:pP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úm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,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úm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,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êm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ường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H do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ut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ào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ô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ấp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(RSV) </a:t>
            </a:r>
          </a:p>
          <a:p>
            <a:pPr marL="1092200" lvl="1" indent="-285750">
              <a:spcBef>
                <a:spcPts val="600"/>
              </a:spcBef>
              <a:spcAft>
                <a:spcPts val="0"/>
              </a:spcAft>
            </a:pPr>
            <a:r>
              <a:rPr lang="en-GB" sz="20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êm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ường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HH do </a:t>
            </a:r>
            <a:r>
              <a:rPr lang="en-GB" sz="20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CK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GB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</a:t>
            </a:r>
          </a:p>
          <a:p>
            <a:pPr marL="809625" lvl="0" indent="-277813">
              <a:spcBef>
                <a:spcPts val="600"/>
              </a:spcBef>
              <a:spcAft>
                <a:spcPts val="0"/>
              </a:spcAft>
              <a:buFont typeface="+mj-lt"/>
              <a:buAutoNum type="arabicParenR"/>
            </a:pP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ọc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ên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iải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ả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ét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ghiệm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Xpert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ả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ả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X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…</a:t>
            </a:r>
            <a:r>
              <a:rPr lang="en-AU" sz="20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BC6DF1C-86E9-4CC3-A315-F8980AE1F9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91727" y="3883715"/>
            <a:ext cx="3516156" cy="219689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4D98CC8-61BC-41D5-9E6C-4EF96B0E7F7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1727" y="1393745"/>
            <a:ext cx="3492609" cy="2196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0576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67ACF8-7E2D-42C6-ACB6-585ED9E1DD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36" y="591304"/>
            <a:ext cx="10440000" cy="616223"/>
          </a:xfrm>
        </p:spPr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2ABB06F-FEEB-4950-8660-288FDD1BD5F0}"/>
              </a:ext>
            </a:extLst>
          </p:cNvPr>
          <p:cNvSpPr txBox="1"/>
          <p:nvPr/>
        </p:nvSpPr>
        <p:spPr>
          <a:xfrm>
            <a:off x="499406" y="1471345"/>
            <a:ext cx="10929938" cy="15542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95325" indent="-34290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ội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ung </a:t>
            </a: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GB" sz="20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984250" indent="-273050">
              <a:spcBef>
                <a:spcPts val="600"/>
              </a:spcBef>
              <a:buFont typeface="+mj-lt"/>
              <a:buAutoNum type="arabicParenR" startAt="3"/>
            </a:pP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ướng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ẫ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ầ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ềm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hi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hậ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BN</a:t>
            </a:r>
            <a:endParaRPr lang="en-GB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84250" indent="-273050">
              <a:spcBef>
                <a:spcPts val="600"/>
              </a:spcBef>
              <a:buFont typeface="+mj-lt"/>
              <a:buAutoNum type="arabicParenR" startAt="3"/>
            </a:pP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ướng dẫn sử dụng </a:t>
            </a:r>
            <a:r>
              <a:rPr lang="en-AU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ang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ục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ảo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ộ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AU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984250" indent="-273050">
              <a:spcBef>
                <a:spcPts val="600"/>
              </a:spcBef>
              <a:buFont typeface="+mj-lt"/>
              <a:buAutoNum type="arabicParenR" startAt="3"/>
            </a:pPr>
            <a:r>
              <a:rPr lang="en-AU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ướng</a:t>
            </a:r>
            <a:r>
              <a:rPr lang="en-AU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ẫn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hực hiện lấy mẫu 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&amp;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xét nghiệm nhanh COVID 19, Cúm A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SV, L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K </a:t>
            </a:r>
            <a:r>
              <a:rPr lang="en-AU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AU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</a:t>
            </a:r>
          </a:p>
        </p:txBody>
      </p:sp>
      <p:pic>
        <p:nvPicPr>
          <p:cNvPr id="8" name="Picture 7" descr="A person holding a phone&#10;&#10;Description automatically generated">
            <a:extLst>
              <a:ext uri="{FF2B5EF4-FFF2-40B4-BE49-F238E27FC236}">
                <a16:creationId xmlns:a16="http://schemas.microsoft.com/office/drawing/2014/main" id="{027B780F-92BB-429A-951C-7026FA6154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3172" y="4074267"/>
            <a:ext cx="4002405" cy="25755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3787966-A565-4192-ADE1-2717819BA27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05" y="3300988"/>
            <a:ext cx="3863325" cy="2367133"/>
          </a:xfrm>
          <a:prstGeom prst="rect">
            <a:avLst/>
          </a:prstGeom>
        </p:spPr>
      </p:pic>
      <p:pic>
        <p:nvPicPr>
          <p:cNvPr id="3" name="Picture 2" descr="A person using a computer&#10;&#10;Description automatically generated">
            <a:extLst>
              <a:ext uri="{FF2B5EF4-FFF2-40B4-BE49-F238E27FC236}">
                <a16:creationId xmlns:a16="http://schemas.microsoft.com/office/drawing/2014/main" id="{3E95EC91-BEEF-4700-B7A4-EB77B011DBE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6019" y="3300987"/>
            <a:ext cx="3863325" cy="2367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0970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09516810-11B6-45DF-9FF9-987E70BBAFFE}"/>
              </a:ext>
            </a:extLst>
          </p:cNvPr>
          <p:cNvSpPr txBox="1"/>
          <p:nvPr/>
        </p:nvSpPr>
        <p:spPr>
          <a:xfrm>
            <a:off x="644336" y="1442812"/>
            <a:ext cx="545166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0" indent="-284163">
              <a:buFont typeface="+mj-lt"/>
              <a:buAutoNum type="arabicParenR" startAt="6"/>
            </a:pP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ướng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ẫ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ảo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óng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ói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3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ớp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uyể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àn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iao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ẫu</a:t>
            </a: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hẩm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ờm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ừ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YT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ên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TTY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7A834E6-5DC2-42EA-9293-BE8DAAB680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458" y="4396447"/>
            <a:ext cx="3505200" cy="22309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245AF58-D04B-4890-BACB-6D054D65D9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800" y="2649243"/>
            <a:ext cx="3505200" cy="223253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9B1A698-4A58-40B7-8DDD-E53B26FEF01F}"/>
              </a:ext>
            </a:extLst>
          </p:cNvPr>
          <p:cNvSpPr txBox="1"/>
          <p:nvPr/>
        </p:nvSpPr>
        <p:spPr>
          <a:xfrm>
            <a:off x="7382552" y="1420553"/>
            <a:ext cx="41651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0850" lvl="0" indent="-277813">
              <a:buFont typeface="+mj-lt"/>
              <a:buAutoNum type="arabicParenR" startAt="7"/>
            </a:pP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ướng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ẫn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ấy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ẫu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ệnh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ẩm</a:t>
            </a:r>
            <a:r>
              <a:rPr lang="en-GB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đờm</a:t>
            </a:r>
            <a:endParaRPr lang="en-GB" sz="2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0850" lvl="0" indent="-277813">
              <a:buFont typeface="+mj-lt"/>
              <a:buAutoNum type="arabicParenR" startAt="7"/>
            </a:pP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ỹ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uật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ống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ải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đờm</a:t>
            </a: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93967AC-00C1-4EF1-BB01-98B136ADE55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2516" y="4528827"/>
            <a:ext cx="3505200" cy="2098522"/>
          </a:xfrm>
          <a:prstGeom prst="rect">
            <a:avLst/>
          </a:prstGeom>
        </p:spPr>
      </p:pic>
      <p:pic>
        <p:nvPicPr>
          <p:cNvPr id="20" name="Picture 19" descr="A person massaging a person's chest&#10;&#10;Description automatically generated">
            <a:extLst>
              <a:ext uri="{FF2B5EF4-FFF2-40B4-BE49-F238E27FC236}">
                <a16:creationId xmlns:a16="http://schemas.microsoft.com/office/drawing/2014/main" id="{CF9550DE-446D-446D-87E5-6CEE12D6D26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5072" y="2649243"/>
            <a:ext cx="3505200" cy="2232537"/>
          </a:xfrm>
          <a:prstGeom prst="rect">
            <a:avLst/>
          </a:prstGeom>
        </p:spPr>
      </p:pic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07283BA3-6D93-4428-AF6B-AF28344F0F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4336" y="591304"/>
            <a:ext cx="10440000" cy="616223"/>
          </a:xfrm>
        </p:spPr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ập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huấn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410754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5CA9E60-CDD8-4623-ABA4-9CBC413ADC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4. HOẠT ĐỘNG TRUYỀN THÔ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4734AA-C5F8-4FBF-AC2B-B09461F3B3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7823" y="869594"/>
            <a:ext cx="2863648" cy="196504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866A1AA-D438-447F-942D-61307471C4C0}"/>
              </a:ext>
            </a:extLst>
          </p:cNvPr>
          <p:cNvSpPr txBox="1"/>
          <p:nvPr/>
        </p:nvSpPr>
        <p:spPr>
          <a:xfrm>
            <a:off x="644336" y="1361805"/>
            <a:ext cx="547986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á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ano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TYT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hà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ố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UBND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ọ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hu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vự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ô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â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ư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hà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vă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óa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…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ặ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ờ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hà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ố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quầy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uố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ịa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à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TYT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à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uyề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thanh qua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ệ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ố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oa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uyề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thanh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ô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5-7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ầ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uầ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TYT,…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uyề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ê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ạ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ộ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hư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facebook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zalo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…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hố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vớ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ban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gành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oà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ể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uyê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uyề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ồ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hép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ộ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ghị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ổ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âu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lạ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ộ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ọc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087228-2497-4E84-A6F9-7F727E95AE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7823" y="2929070"/>
            <a:ext cx="2863648" cy="179242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60F7DC4-2C1D-4B7E-BDC2-DBA9A901FE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17906" y="1361805"/>
            <a:ext cx="2000329" cy="29456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5E89CDD-23D2-4665-BB48-E2A3F802F2D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7823" y="4815929"/>
            <a:ext cx="2863648" cy="1731226"/>
          </a:xfrm>
          <a:prstGeom prst="rect">
            <a:avLst/>
          </a:prstGeom>
        </p:spPr>
      </p:pic>
      <p:pic>
        <p:nvPicPr>
          <p:cNvPr id="9" name="Picture 2" descr="Hệ thống loa truyền thanh xã, phường đưa thông tin phòng dịch Covid-19 len  lỏi đến từng gia đình">
            <a:extLst>
              <a:ext uri="{FF2B5EF4-FFF2-40B4-BE49-F238E27FC236}">
                <a16:creationId xmlns:a16="http://schemas.microsoft.com/office/drawing/2014/main" id="{05B02521-4BA2-4D4C-BB6C-CA535D0408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7906" y="4508221"/>
            <a:ext cx="2000329" cy="1492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8396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BECC940-C5EE-4839-A3F8-B50061AA6D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5. HOẠT ĐỘNG GIÁM SÁT HỖ TRỢ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2290BC-C790-4E75-BC7A-15ABFF198D9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5560" y="1348740"/>
            <a:ext cx="3343275" cy="21717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3A7B27-C188-4EE3-BCE7-072A89A2E2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5559" y="3953867"/>
            <a:ext cx="3343275" cy="21673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AB4C8F1-4629-4051-9AFD-F0CF7BDDE9D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383" y="3896717"/>
            <a:ext cx="3343275" cy="22288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572FA4-59D1-437A-901A-DA0B934991FA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383" y="1348740"/>
            <a:ext cx="3343275" cy="21831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BCC6997-5B74-43DC-B851-EFDFAA03BFD6}"/>
              </a:ext>
            </a:extLst>
          </p:cNvPr>
          <p:cNvSpPr txBox="1"/>
          <p:nvPr/>
        </p:nvSpPr>
        <p:spPr>
          <a:xfrm>
            <a:off x="644336" y="1724145"/>
            <a:ext cx="3429953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ự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á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iế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ành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4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ợ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iám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á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2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giám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sát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hỗ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ợ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tất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ả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TYT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, PKĐK KV, khoa X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ơi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ự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án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ành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ần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đoàn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giám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sá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: CTCLQG, BV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hổi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HN, FIND, TTYT</a:t>
            </a:r>
          </a:p>
          <a:p>
            <a:pPr marL="285750" lvl="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Nội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dung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giám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sát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hỗ</a:t>
            </a:r>
            <a:r>
              <a:rPr lang="en-GB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trợ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oàn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ộ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oạt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động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ự</a:t>
            </a:r>
            <a:r>
              <a:rPr lang="en-GB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án</a:t>
            </a:r>
            <a:endParaRPr lang="en-GB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2917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591E03-ED8B-47F4-8186-EB471512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42" y="353713"/>
            <a:ext cx="11312764" cy="848876"/>
          </a:xfrm>
        </p:spPr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6. HĐ SÀNG LỌC Lao, COVID19, CÚM a-b-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rsv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&amp; LCK NHÓM 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D1CB3E-61E9-4722-BB27-BA1836B8BAC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4554" y="1411751"/>
            <a:ext cx="2409249" cy="1606166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C5D530D2-2071-4CBA-8CAD-CE910E2AFC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402703"/>
              </p:ext>
            </p:extLst>
          </p:nvPr>
        </p:nvGraphicFramePr>
        <p:xfrm>
          <a:off x="489100" y="742324"/>
          <a:ext cx="10310079" cy="5697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9323DD91-AD77-4DD7-A580-8ED9B7C7C586}"/>
              </a:ext>
            </a:extLst>
          </p:cNvPr>
          <p:cNvCxnSpPr>
            <a:cxnSpLocks/>
          </p:cNvCxnSpPr>
          <p:nvPr/>
        </p:nvCxnSpPr>
        <p:spPr>
          <a:xfrm rot="10800000" flipV="1">
            <a:off x="7125947" y="4541209"/>
            <a:ext cx="1294414" cy="621100"/>
          </a:xfrm>
          <a:prstGeom prst="bentConnector3">
            <a:avLst>
              <a:gd name="adj1" fmla="val 19597"/>
            </a:avLst>
          </a:prstGeom>
          <a:ln w="34925">
            <a:solidFill>
              <a:srgbClr val="6AC5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415261F-E2F7-4A8C-99FC-2D041DD6DE96}"/>
              </a:ext>
            </a:extLst>
          </p:cNvPr>
          <p:cNvSpPr/>
          <p:nvPr/>
        </p:nvSpPr>
        <p:spPr>
          <a:xfrm>
            <a:off x="265538" y="1202589"/>
            <a:ext cx="7180628" cy="4723649"/>
          </a:xfrm>
          <a:prstGeom prst="roundRect">
            <a:avLst/>
          </a:prstGeom>
          <a:noFill/>
          <a:ln w="34925">
            <a:solidFill>
              <a:srgbClr val="0070C0"/>
            </a:solidFill>
            <a:prstDash val="dash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AU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Trạm</a:t>
            </a:r>
            <a:r>
              <a:rPr lang="en-A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AU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tế</a:t>
            </a:r>
            <a:r>
              <a:rPr lang="en-A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AU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xã</a:t>
            </a:r>
            <a:r>
              <a:rPr lang="en-AU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/PK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2EFFD6-FD0C-4163-A891-C903BFEA211D}"/>
              </a:ext>
            </a:extLst>
          </p:cNvPr>
          <p:cNvSpPr/>
          <p:nvPr/>
        </p:nvSpPr>
        <p:spPr>
          <a:xfrm>
            <a:off x="7704881" y="3110922"/>
            <a:ext cx="3696610" cy="1808726"/>
          </a:xfrm>
          <a:prstGeom prst="roundRect">
            <a:avLst/>
          </a:prstGeom>
          <a:noFill/>
          <a:ln w="34925">
            <a:solidFill>
              <a:srgbClr val="00B050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AU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A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rung</a:t>
            </a:r>
            <a:r>
              <a:rPr lang="en-A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A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âm</a:t>
            </a:r>
            <a:r>
              <a:rPr lang="en-A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y </a:t>
            </a:r>
            <a:r>
              <a:rPr lang="en-A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tế</a:t>
            </a:r>
            <a:r>
              <a:rPr lang="en-A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A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huyện</a:t>
            </a:r>
            <a:endParaRPr lang="en-AU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129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3AE24FC-58C3-4535-92D6-9509D1FA8D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NỘI DUNG TRÌNH BÀY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B66F4243-E09A-4778-AC5D-6F6040C29E6A}"/>
              </a:ext>
            </a:extLst>
          </p:cNvPr>
          <p:cNvSpPr txBox="1">
            <a:spLocks/>
          </p:cNvSpPr>
          <p:nvPr/>
        </p:nvSpPr>
        <p:spPr>
          <a:xfrm>
            <a:off x="477540" y="1196421"/>
            <a:ext cx="11058694" cy="277375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+mj-lt"/>
              <a:buAutoNum type="arabicParenR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+mj-lt"/>
              <a:buAutoNum type="arabicParenR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+mj-lt"/>
              <a:buAutoNum type="arabicParenR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+mj-lt"/>
              <a:buAutoNum type="arabicParenR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B6B6C50-8D4A-4AD8-9387-9EB6834061F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93645001"/>
              </p:ext>
            </p:extLst>
          </p:nvPr>
        </p:nvGraphicFramePr>
        <p:xfrm>
          <a:off x="655766" y="1508760"/>
          <a:ext cx="10739944" cy="4629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086444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B3D0FA-848D-49F1-890F-965F3C01FB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KẾT QUẢ TRIỂN KHAI DỰ ÁN</a:t>
            </a:r>
          </a:p>
        </p:txBody>
      </p:sp>
    </p:spTree>
    <p:extLst>
      <p:ext uri="{BB962C8B-B14F-4D97-AF65-F5344CB8AC3E}">
        <p14:creationId xmlns:p14="http://schemas.microsoft.com/office/powerpoint/2010/main" val="15798925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591E03-ED8B-47F4-8186-EB471512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CÁC HỖ TRỢ TỪ DỰ Á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0F1120D-02C4-491F-B0E4-C6FFCA80EF05}"/>
              </a:ext>
            </a:extLst>
          </p:cNvPr>
          <p:cNvGrpSpPr/>
          <p:nvPr/>
        </p:nvGrpSpPr>
        <p:grpSpPr>
          <a:xfrm>
            <a:off x="644336" y="1230529"/>
            <a:ext cx="11106714" cy="5336913"/>
            <a:chOff x="1220324" y="1137932"/>
            <a:chExt cx="10771048" cy="5336913"/>
          </a:xfrm>
        </p:grpSpPr>
        <p:graphicFrame>
          <p:nvGraphicFramePr>
            <p:cNvPr id="3" name="Diagram 2">
              <a:extLst>
                <a:ext uri="{FF2B5EF4-FFF2-40B4-BE49-F238E27FC236}">
                  <a16:creationId xmlns:a16="http://schemas.microsoft.com/office/drawing/2014/main" id="{A2388120-EC44-4446-9F67-4086EB255CA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076134957"/>
                </p:ext>
              </p:extLst>
            </p:nvPr>
          </p:nvGraphicFramePr>
          <p:xfrm>
            <a:off x="1220324" y="1137932"/>
            <a:ext cx="10771048" cy="533691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5044F2B-DEBE-4F78-B424-52FE7084F09D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9278" y="1711871"/>
              <a:ext cx="660639" cy="574382"/>
            </a:xfrm>
            <a:prstGeom prst="rect">
              <a:avLst/>
            </a:prstGeom>
            <a:noFill/>
          </p:spPr>
        </p:pic>
        <p:pic>
          <p:nvPicPr>
            <p:cNvPr id="12" name="Picture 4" descr="Xpert® MTB/RIF Ultra">
              <a:extLst>
                <a:ext uri="{FF2B5EF4-FFF2-40B4-BE49-F238E27FC236}">
                  <a16:creationId xmlns:a16="http://schemas.microsoft.com/office/drawing/2014/main" id="{B59979FA-6E34-46BE-9DFC-547F370D66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8270" y="2707443"/>
              <a:ext cx="367512" cy="3195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" descr="Cepheid Expands into Non-Acute Care Market | Clinical Lab Products">
              <a:extLst>
                <a:ext uri="{FF2B5EF4-FFF2-40B4-BE49-F238E27FC236}">
                  <a16:creationId xmlns:a16="http://schemas.microsoft.com/office/drawing/2014/main" id="{8667D41C-61C6-4C95-81B8-42429AA06B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0582" y="3026970"/>
              <a:ext cx="742887" cy="574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2B20E2A-30AF-40AE-A74A-52C50EDF08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"/>
            <a:stretch/>
          </p:blipFill>
          <p:spPr>
            <a:xfrm>
              <a:off x="1878454" y="4093358"/>
              <a:ext cx="725015" cy="574382"/>
            </a:xfrm>
            <a:prstGeom prst="rect">
              <a:avLst/>
            </a:prstGeom>
          </p:spPr>
        </p:pic>
        <p:pic>
          <p:nvPicPr>
            <p:cNvPr id="15" name="Picture 2" descr="Găng tay y tế Latex (có bột)">
              <a:extLst>
                <a:ext uri="{FF2B5EF4-FFF2-40B4-BE49-F238E27FC236}">
                  <a16:creationId xmlns:a16="http://schemas.microsoft.com/office/drawing/2014/main" id="{441ABEFE-60BE-4FD6-957D-A2A00A95E3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2003" y="5370076"/>
              <a:ext cx="535187" cy="5351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196606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70004E-921A-49C2-A68B-52F69C1CB4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SÀNG LỌC 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D81B2305-EDE9-436D-8BC3-B80FECC900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764176"/>
              </p:ext>
            </p:extLst>
          </p:nvPr>
        </p:nvGraphicFramePr>
        <p:xfrm>
          <a:off x="876000" y="1074979"/>
          <a:ext cx="10440000" cy="5191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1845">
                  <a:extLst>
                    <a:ext uri="{9D8B030D-6E8A-4147-A177-3AD203B41FA5}">
                      <a16:colId xmlns:a16="http://schemas.microsoft.com/office/drawing/2014/main" val="656206710"/>
                    </a:ext>
                  </a:extLst>
                </a:gridCol>
                <a:gridCol w="1944547">
                  <a:extLst>
                    <a:ext uri="{9D8B030D-6E8A-4147-A177-3AD203B41FA5}">
                      <a16:colId xmlns:a16="http://schemas.microsoft.com/office/drawing/2014/main" val="1477360676"/>
                    </a:ext>
                  </a:extLst>
                </a:gridCol>
                <a:gridCol w="1967696">
                  <a:extLst>
                    <a:ext uri="{9D8B030D-6E8A-4147-A177-3AD203B41FA5}">
                      <a16:colId xmlns:a16="http://schemas.microsoft.com/office/drawing/2014/main" val="2602415566"/>
                    </a:ext>
                  </a:extLst>
                </a:gridCol>
                <a:gridCol w="2195912">
                  <a:extLst>
                    <a:ext uri="{9D8B030D-6E8A-4147-A177-3AD203B41FA5}">
                      <a16:colId xmlns:a16="http://schemas.microsoft.com/office/drawing/2014/main" val="3002148955"/>
                    </a:ext>
                  </a:extLst>
                </a:gridCol>
              </a:tblGrid>
              <a:tr h="396287"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ại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ịch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ụ</a:t>
                      </a:r>
                      <a:endParaRPr lang="en-AU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húc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ọ</a:t>
                      </a:r>
                      <a:endParaRPr lang="en-AU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Ứng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òa</a:t>
                      </a:r>
                      <a:endParaRPr lang="en-AU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ực</a:t>
                      </a:r>
                      <a:r>
                        <a:rPr lang="en-AU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ện</a:t>
                      </a:r>
                      <a:endParaRPr lang="en-AU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78001561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 </a:t>
                      </a:r>
                      <a:r>
                        <a:rPr lang="en-A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àng</a:t>
                      </a:r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ọc</a:t>
                      </a:r>
                      <a:endParaRPr lang="en-AU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940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61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557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843542512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vi-V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 XN COVID-19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698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333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031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18062306"/>
                  </a:ext>
                </a:extLst>
              </a:tr>
              <a:tr h="436273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ca COVID-19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92 (6,1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68 (1,6%)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960 (4,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652957228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vi-V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 XN Cúm A-B-RSV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664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78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9.450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692827001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úm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660 (6.8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595 (6.1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255 (6,5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61741094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úm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524 (5.4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0 (2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24 (3,7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51306378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úm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SV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 (0.8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74 (0.8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4 (0,8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518681954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vi-V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 XN L</a:t>
                      </a:r>
                      <a:r>
                        <a:rPr lang="en-AU" sz="2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ên</a:t>
                      </a:r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vi-VN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ầu nhóm A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6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86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753      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31604597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a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ên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ầu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hóm</a:t>
                      </a:r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49 (2.1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 (0.4%) 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A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9 (1,2%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784277638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l" fontAlgn="b"/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ố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ẫu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đờm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được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uyển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AU" sz="20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ửi</a:t>
                      </a: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amp;XN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2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97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797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5933252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ố</a:t>
                      </a:r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BN MTB +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531370718"/>
                  </a:ext>
                </a:extLst>
              </a:tr>
              <a:tr h="396287"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Số</a:t>
                      </a:r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BN MTB + &amp; </a:t>
                      </a:r>
                      <a:r>
                        <a:rPr lang="en-AU" sz="2000" b="1" i="0" u="none" strike="noStrike" dirty="0" err="1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kháng</a:t>
                      </a:r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Rif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AU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694248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94363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70004E-921A-49C2-A68B-52F69C1CB4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quả</a:t>
            </a:r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 SÀNG LỌC (TT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7EA4AFF-4786-4381-BFE1-23B0B4B8A8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2735175"/>
              </p:ext>
            </p:extLst>
          </p:nvPr>
        </p:nvGraphicFramePr>
        <p:xfrm>
          <a:off x="1863524" y="2164467"/>
          <a:ext cx="8299049" cy="3877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Google Shape;1437;p40">
            <a:extLst>
              <a:ext uri="{FF2B5EF4-FFF2-40B4-BE49-F238E27FC236}">
                <a16:creationId xmlns:a16="http://schemas.microsoft.com/office/drawing/2014/main" id="{A27D80E6-3460-4552-AD74-E3AA3EBD6A54}"/>
              </a:ext>
            </a:extLst>
          </p:cNvPr>
          <p:cNvSpPr txBox="1">
            <a:spLocks/>
          </p:cNvSpPr>
          <p:nvPr/>
        </p:nvSpPr>
        <p:spPr>
          <a:xfrm>
            <a:off x="2104663" y="1190406"/>
            <a:ext cx="7816770" cy="75611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700" algn="just">
              <a:spcBef>
                <a:spcPts val="600"/>
              </a:spcBef>
              <a:spcAft>
                <a:spcPts val="600"/>
              </a:spcAft>
              <a:buSzPct val="100000"/>
            </a:pP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N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ợc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át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ước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i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</a:t>
            </a:r>
            <a:endParaRPr lang="vi-VN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7996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B3D0FA-848D-49F1-890F-965F3C01FB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31851" y="1956339"/>
            <a:ext cx="6128297" cy="1145675"/>
          </a:xfrm>
        </p:spPr>
        <p:txBody>
          <a:bodyPr/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THUẬN LỢI, KHÓ KHĂN &amp; </a:t>
            </a:r>
          </a:p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BÀI HỌC KINH NGHIỆM</a:t>
            </a:r>
          </a:p>
        </p:txBody>
      </p:sp>
    </p:spTree>
    <p:extLst>
      <p:ext uri="{BB962C8B-B14F-4D97-AF65-F5344CB8AC3E}">
        <p14:creationId xmlns:p14="http://schemas.microsoft.com/office/powerpoint/2010/main" val="17085838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2CE9E4-9CC6-4B54-B2B6-BE5105DE6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THUẬN LỢI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018DEB7D-677D-4C04-8837-1C9B9EA0C41E}"/>
              </a:ext>
            </a:extLst>
          </p:cNvPr>
          <p:cNvSpPr txBox="1">
            <a:spLocks/>
          </p:cNvSpPr>
          <p:nvPr/>
        </p:nvSpPr>
        <p:spPr>
          <a:xfrm>
            <a:off x="566653" y="1477797"/>
            <a:ext cx="11058694" cy="3175225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ạng lưới phòng chống lao duy trì và xây dựng trong nhiều năm, từ tuyến tỉnh – quận/huyện – xã/phường</a:t>
            </a: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ự án được sự chỉ đạo, hỗ trợ của Sở 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ế Hà Nội, CTCLQG, CTCL Thành phố Hà Nội</a:t>
            </a: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ự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ố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ặ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ữ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YT, TTYT, BV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ổ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N, CTCLQG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</a:t>
            </a: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ỹ thuật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ới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yế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TCS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phác đồ điều trị được nhanh chóng cập nhật, hỗ trợ chuyên môn từ Bệnh viện Phổi Trung ương, Bệnh viện Phổi Hà Nội và tổ chức FIND</a:t>
            </a:r>
          </a:p>
        </p:txBody>
      </p:sp>
    </p:spTree>
    <p:extLst>
      <p:ext uri="{BB962C8B-B14F-4D97-AF65-F5344CB8AC3E}">
        <p14:creationId xmlns:p14="http://schemas.microsoft.com/office/powerpoint/2010/main" val="20745107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2CE9E4-9CC6-4B54-B2B6-BE5105DE69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KHÓ KHĂN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018DEB7D-677D-4C04-8837-1C9B9EA0C41E}"/>
              </a:ext>
            </a:extLst>
          </p:cNvPr>
          <p:cNvSpPr txBox="1">
            <a:spLocks/>
          </p:cNvSpPr>
          <p:nvPr/>
        </p:nvSpPr>
        <p:spPr>
          <a:xfrm>
            <a:off x="825088" y="2032609"/>
            <a:ext cx="10541824" cy="332521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ệ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ố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y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eneXper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ề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ể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ử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ụ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â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à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ặ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ó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ă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ư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ây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ự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ị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ứ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y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ể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ợ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ê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yệt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ộ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NT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ò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ư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ồ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ấ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ò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ạ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ế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ân lực chống lao tại các tuyến còn thiếu, thường xuyên thay đổi, kiêm nhiệm nhiều công việc </a:t>
            </a: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iều 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T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ã đang trong quá trình sửa chữa, xây mới, ảnh hưởng tới công tác khám chữa bệnh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ạm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ạt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ộ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</a:t>
            </a: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ệc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u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ập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ẫu đờm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ư vấn 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N 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ạc đờm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ò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ó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ăn</a:t>
            </a:r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ệc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ư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ấ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N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N test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anh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ấy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ờm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ặp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ó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ăn</a:t>
            </a:r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endParaRPr lang="vi-VN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4620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1FBD61-0383-4A52-B328-1371ED8C8C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BÀI HỌC KINH NGHIỆM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EE6F180-9A5A-435E-989B-FFDC25B96B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4014120"/>
              </p:ext>
            </p:extLst>
          </p:nvPr>
        </p:nvGraphicFramePr>
        <p:xfrm>
          <a:off x="991870" y="1119716"/>
          <a:ext cx="1090676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3412298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1FBD61-0383-4A52-B328-1371ED8C8C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BÀI HỌC KINH NGHIỆM (TT)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4817A8D4-27E3-40FC-8089-8BE84D961E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7133101"/>
              </p:ext>
            </p:extLst>
          </p:nvPr>
        </p:nvGraphicFramePr>
        <p:xfrm>
          <a:off x="919590" y="1119716"/>
          <a:ext cx="1059042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328694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ách viết thư cảm ơn sau buổi phỏng vấn xin việc">
            <a:extLst>
              <a:ext uri="{FF2B5EF4-FFF2-40B4-BE49-F238E27FC236}">
                <a16:creationId xmlns:a16="http://schemas.microsoft.com/office/drawing/2014/main" id="{FC653E17-9F73-4E76-8C85-75B51A458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9057" y="624527"/>
            <a:ext cx="8409214" cy="560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59573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B3D0FA-848D-49F1-890F-965F3C01FB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GIỚI THIỆU VỀ DỰ ÁN TBCOVID</a:t>
            </a:r>
          </a:p>
        </p:txBody>
      </p:sp>
    </p:spTree>
    <p:extLst>
      <p:ext uri="{BB962C8B-B14F-4D97-AF65-F5344CB8AC3E}">
        <p14:creationId xmlns:p14="http://schemas.microsoft.com/office/powerpoint/2010/main" val="3920163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7E3B22-29FD-4007-9DFD-F61E669ED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2709" y="604764"/>
            <a:ext cx="9360000" cy="308122"/>
          </a:xfrm>
        </p:spPr>
        <p:txBody>
          <a:bodyPr/>
          <a:lstStyle/>
          <a:p>
            <a:r>
              <a:rPr lang="en-AU" sz="2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ỐI CẢNH XÂY DỰNG DỰ Á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6BC0F1-4D95-4E31-95C3-26672CFDF7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ở rộng quy mô </a:t>
            </a:r>
            <a:r>
              <a:rPr lang="vi-VN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ét nghiệm đồng thời bệnh lao và COVID-19 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à một trong những hành động chính được WHO vạch ra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ối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ảnh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ại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ịch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vi-VN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át hiện và điều trị 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ững người mắc bệnh lao vẫn </a:t>
            </a:r>
            <a:r>
              <a:rPr lang="vi-VN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à trụ cột cơ bản 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 việc phòng ngừa và chăm sóc bệnh lao. </a:t>
            </a:r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ă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u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ăng cường sàng lọc hai chiều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ao và COVID-19 tại tuyến 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TCS</a:t>
            </a:r>
            <a:r>
              <a:rPr lang="vi-VN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nhằm tăng cường cảnh báo bệnh lao và cải thiện công tác quản lý COVID-19 tại cộng đồng.</a:t>
            </a:r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ă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ường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ả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iếp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ậ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ẩ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oá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ớm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gười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â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ông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a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ẩ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oá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yến</a:t>
            </a:r>
            <a:r>
              <a:rPr lang="en-AU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TCS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à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ất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ần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ết</a:t>
            </a:r>
            <a:r>
              <a:rPr lang="en-AU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algn="just"/>
            <a:endParaRPr lang="en-AU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3DF265-0BCC-4E94-BC71-B8EEC9F27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267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5AA97D-C6A1-4FEB-84C4-975556B4A4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MỤC TIÊU CỦA DỰ ÁN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0AF0237E-7571-4937-AABF-C307453BBA24}"/>
              </a:ext>
            </a:extLst>
          </p:cNvPr>
          <p:cNvSpPr txBox="1">
            <a:spLocks/>
          </p:cNvSpPr>
          <p:nvPr/>
        </p:nvSpPr>
        <p:spPr>
          <a:xfrm>
            <a:off x="644336" y="1420937"/>
            <a:ext cx="10720448" cy="26746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â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ă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ự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ộ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ờ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ô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ấ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ở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yế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TCS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ệ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ố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TCLQG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ạ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ệ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am.</a:t>
            </a:r>
          </a:p>
          <a:p>
            <a:pPr marL="596900" indent="-45720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ị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í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ộ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ờ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ô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ấ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ở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yế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TCS</a:t>
            </a:r>
          </a:p>
          <a:p>
            <a:pPr marL="596900" indent="-45720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arenR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á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á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á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ộ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ô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ì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VID-19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ộ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ố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ườ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ô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ấp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ở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yế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TCS.</a:t>
            </a:r>
          </a:p>
        </p:txBody>
      </p:sp>
    </p:spTree>
    <p:extLst>
      <p:ext uri="{BB962C8B-B14F-4D97-AF65-F5344CB8AC3E}">
        <p14:creationId xmlns:p14="http://schemas.microsoft.com/office/powerpoint/2010/main" val="2575328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96019AE-270F-4060-8818-D7C13E34FE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THÔNG TIN DỰ ÁN</a:t>
            </a:r>
          </a:p>
        </p:txBody>
      </p:sp>
      <p:sp>
        <p:nvSpPr>
          <p:cNvPr id="20" name="Google Shape;1437;p40">
            <a:extLst>
              <a:ext uri="{FF2B5EF4-FFF2-40B4-BE49-F238E27FC236}">
                <a16:creationId xmlns:a16="http://schemas.microsoft.com/office/drawing/2014/main" id="{D1A14316-F500-47C3-9525-526EAFBC1696}"/>
              </a:ext>
            </a:extLst>
          </p:cNvPr>
          <p:cNvSpPr txBox="1">
            <a:spLocks/>
          </p:cNvSpPr>
          <p:nvPr/>
        </p:nvSpPr>
        <p:spPr>
          <a:xfrm>
            <a:off x="259417" y="1908811"/>
            <a:ext cx="4865521" cy="3324774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ời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a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/2022 – 06/2023</a:t>
            </a: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ối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ác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ơ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ị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iển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ha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CT CLQG, BV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ổ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à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ộ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T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ô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y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Up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ịa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iể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marL="871538" lvl="1" indent="-457200" algn="just">
              <a:spcBef>
                <a:spcPts val="600"/>
              </a:spcBef>
              <a:spcAft>
                <a:spcPts val="0"/>
              </a:spcAft>
              <a:buSzPct val="100000"/>
            </a:pP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Ứng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òa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9 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2 PKĐK KV, T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Ứ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òa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BVĐK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â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ì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*)</a:t>
            </a:r>
          </a:p>
          <a:p>
            <a:pPr marL="871538" lvl="1" indent="-457200" algn="just">
              <a:spcBef>
                <a:spcPts val="600"/>
              </a:spcBef>
              <a:spcAft>
                <a:spcPts val="0"/>
              </a:spcAft>
              <a:buSzPct val="100000"/>
            </a:pP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yện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úc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u="sng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ọ</a:t>
            </a:r>
            <a:r>
              <a:rPr lang="en-US" sz="2000" u="sng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3 T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1 PKĐK KV 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9EFEB78-9143-4ACC-BB32-FFB3160F9BDC}"/>
              </a:ext>
            </a:extLst>
          </p:cNvPr>
          <p:cNvGrpSpPr/>
          <p:nvPr/>
        </p:nvGrpSpPr>
        <p:grpSpPr>
          <a:xfrm>
            <a:off x="5372078" y="591304"/>
            <a:ext cx="6169089" cy="5964256"/>
            <a:chOff x="5372078" y="591304"/>
            <a:chExt cx="6169089" cy="596425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2AA31CB-7866-4E06-AAD0-0E601253E4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72078" y="591304"/>
              <a:ext cx="6169089" cy="5964256"/>
            </a:xfrm>
            <a:prstGeom prst="rect">
              <a:avLst/>
            </a:prstGeom>
          </p:spPr>
        </p:pic>
        <p:pic>
          <p:nvPicPr>
            <p:cNvPr id="6" name="Graphic 5" descr="Ambulance with solid fill">
              <a:extLst>
                <a:ext uri="{FF2B5EF4-FFF2-40B4-BE49-F238E27FC236}">
                  <a16:creationId xmlns:a16="http://schemas.microsoft.com/office/drawing/2014/main" id="{2AF4E5B7-67AA-4933-9652-CF2ECE5A9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766903" y="5284893"/>
              <a:ext cx="430530" cy="430530"/>
            </a:xfrm>
            <a:prstGeom prst="rect">
              <a:avLst/>
            </a:prstGeom>
          </p:spPr>
        </p:pic>
        <p:pic>
          <p:nvPicPr>
            <p:cNvPr id="10" name="Graphic 9" descr="Ambulance with solid fill">
              <a:extLst>
                <a:ext uri="{FF2B5EF4-FFF2-40B4-BE49-F238E27FC236}">
                  <a16:creationId xmlns:a16="http://schemas.microsoft.com/office/drawing/2014/main" id="{54168CFD-4767-43BC-8BB6-EC43C77F2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367631" y="5405860"/>
              <a:ext cx="430530" cy="430530"/>
            </a:xfrm>
            <a:prstGeom prst="rect">
              <a:avLst/>
            </a:prstGeom>
          </p:spPr>
        </p:pic>
        <p:pic>
          <p:nvPicPr>
            <p:cNvPr id="11" name="Graphic 10" descr="Ambulance with solid fill">
              <a:extLst>
                <a:ext uri="{FF2B5EF4-FFF2-40B4-BE49-F238E27FC236}">
                  <a16:creationId xmlns:a16="http://schemas.microsoft.com/office/drawing/2014/main" id="{2BE12C6F-3E8E-40E1-80F3-E9DDE8FE3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167084" y="4362026"/>
              <a:ext cx="430530" cy="430530"/>
            </a:xfrm>
            <a:prstGeom prst="rect">
              <a:avLst/>
            </a:prstGeom>
          </p:spPr>
        </p:pic>
        <p:pic>
          <p:nvPicPr>
            <p:cNvPr id="12" name="Graphic 11" descr="Ambulance with solid fill">
              <a:extLst>
                <a:ext uri="{FF2B5EF4-FFF2-40B4-BE49-F238E27FC236}">
                  <a16:creationId xmlns:a16="http://schemas.microsoft.com/office/drawing/2014/main" id="{29871A59-7D47-4D63-9FCF-A1424BF26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374815" y="4230597"/>
              <a:ext cx="430530" cy="430530"/>
            </a:xfrm>
            <a:prstGeom prst="rect">
              <a:avLst/>
            </a:prstGeom>
          </p:spPr>
        </p:pic>
        <p:pic>
          <p:nvPicPr>
            <p:cNvPr id="13" name="Graphic 12" descr="Ambulance with solid fill">
              <a:extLst>
                <a:ext uri="{FF2B5EF4-FFF2-40B4-BE49-F238E27FC236}">
                  <a16:creationId xmlns:a16="http://schemas.microsoft.com/office/drawing/2014/main" id="{D0FC536C-0059-4956-AE4A-0C64807825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53184" y="2643936"/>
              <a:ext cx="430530" cy="430530"/>
            </a:xfrm>
            <a:prstGeom prst="rect">
              <a:avLst/>
            </a:prstGeom>
          </p:spPr>
        </p:pic>
        <p:pic>
          <p:nvPicPr>
            <p:cNvPr id="14" name="Graphic 13" descr="Ambulance with solid fill">
              <a:extLst>
                <a:ext uri="{FF2B5EF4-FFF2-40B4-BE49-F238E27FC236}">
                  <a16:creationId xmlns:a16="http://schemas.microsoft.com/office/drawing/2014/main" id="{FB02935A-D4DB-4596-84D9-5205F6BCD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535054" y="3107247"/>
              <a:ext cx="430530" cy="430530"/>
            </a:xfrm>
            <a:prstGeom prst="rect">
              <a:avLst/>
            </a:prstGeom>
          </p:spPr>
        </p:pic>
        <p:pic>
          <p:nvPicPr>
            <p:cNvPr id="15" name="Graphic 14" descr="Ambulance with solid fill">
              <a:extLst>
                <a:ext uri="{FF2B5EF4-FFF2-40B4-BE49-F238E27FC236}">
                  <a16:creationId xmlns:a16="http://schemas.microsoft.com/office/drawing/2014/main" id="{2E870B77-A813-49FF-ACD5-0199374B8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243469" y="2451979"/>
              <a:ext cx="430530" cy="430530"/>
            </a:xfrm>
            <a:prstGeom prst="rect">
              <a:avLst/>
            </a:prstGeom>
          </p:spPr>
        </p:pic>
        <p:pic>
          <p:nvPicPr>
            <p:cNvPr id="16" name="Graphic 15" descr="Ambulance with solid fill">
              <a:extLst>
                <a:ext uri="{FF2B5EF4-FFF2-40B4-BE49-F238E27FC236}">
                  <a16:creationId xmlns:a16="http://schemas.microsoft.com/office/drawing/2014/main" id="{0C9FB0C5-5554-4888-8164-E7799DB1BA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220107" y="2425309"/>
              <a:ext cx="430530" cy="430530"/>
            </a:xfrm>
            <a:prstGeom prst="rect">
              <a:avLst/>
            </a:prstGeom>
          </p:spPr>
        </p:pic>
        <p:pic>
          <p:nvPicPr>
            <p:cNvPr id="18" name="Graphic 17" descr="Badge Tick with solid fill">
              <a:extLst>
                <a:ext uri="{FF2B5EF4-FFF2-40B4-BE49-F238E27FC236}">
                  <a16:creationId xmlns:a16="http://schemas.microsoft.com/office/drawing/2014/main" id="{51A5AD65-A476-45FF-9BD7-D289B3F1DF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54395" y="2431585"/>
              <a:ext cx="241935" cy="241935"/>
            </a:xfrm>
            <a:prstGeom prst="rect">
              <a:avLst/>
            </a:prstGeom>
          </p:spPr>
        </p:pic>
        <p:pic>
          <p:nvPicPr>
            <p:cNvPr id="19" name="Graphic 18" descr="Badge Tick with solid fill">
              <a:extLst>
                <a:ext uri="{FF2B5EF4-FFF2-40B4-BE49-F238E27FC236}">
                  <a16:creationId xmlns:a16="http://schemas.microsoft.com/office/drawing/2014/main" id="{D7F5D5B0-D357-492D-A0F4-37439C86801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69112" y="5233585"/>
              <a:ext cx="241935" cy="241935"/>
            </a:xfrm>
            <a:prstGeom prst="rect">
              <a:avLst/>
            </a:prstGeom>
          </p:spPr>
        </p:pic>
        <p:pic>
          <p:nvPicPr>
            <p:cNvPr id="21" name="Graphic 20" descr="Badge Tick with solid fill">
              <a:extLst>
                <a:ext uri="{FF2B5EF4-FFF2-40B4-BE49-F238E27FC236}">
                  <a16:creationId xmlns:a16="http://schemas.microsoft.com/office/drawing/2014/main" id="{46DA2639-6433-4F0D-A9EE-D5F4985F7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40414" y="3241837"/>
              <a:ext cx="241935" cy="241935"/>
            </a:xfrm>
            <a:prstGeom prst="rect">
              <a:avLst/>
            </a:prstGeom>
          </p:spPr>
        </p:pic>
        <p:pic>
          <p:nvPicPr>
            <p:cNvPr id="22" name="Graphic 21" descr="Badge Tick with solid fill">
              <a:extLst>
                <a:ext uri="{FF2B5EF4-FFF2-40B4-BE49-F238E27FC236}">
                  <a16:creationId xmlns:a16="http://schemas.microsoft.com/office/drawing/2014/main" id="{CDCE2F0E-58FB-4631-8941-2988B7D63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309143" y="3573432"/>
              <a:ext cx="241935" cy="241935"/>
            </a:xfrm>
            <a:prstGeom prst="rect">
              <a:avLst/>
            </a:prstGeom>
          </p:spPr>
        </p:pic>
        <p:pic>
          <p:nvPicPr>
            <p:cNvPr id="23" name="Graphic 22" descr="Badge Tick with solid fill">
              <a:extLst>
                <a:ext uri="{FF2B5EF4-FFF2-40B4-BE49-F238E27FC236}">
                  <a16:creationId xmlns:a16="http://schemas.microsoft.com/office/drawing/2014/main" id="{39A9E997-F537-4F61-AC42-F595FBBA3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89308" y="3049096"/>
              <a:ext cx="241935" cy="241935"/>
            </a:xfrm>
            <a:prstGeom prst="rect">
              <a:avLst/>
            </a:prstGeom>
          </p:spPr>
        </p:pic>
        <p:pic>
          <p:nvPicPr>
            <p:cNvPr id="24" name="Graphic 23" descr="Badge Tick with solid fill">
              <a:extLst>
                <a:ext uri="{FF2B5EF4-FFF2-40B4-BE49-F238E27FC236}">
                  <a16:creationId xmlns:a16="http://schemas.microsoft.com/office/drawing/2014/main" id="{6E52FA4D-2F38-4937-96C6-12C7328DF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684378" y="3362804"/>
              <a:ext cx="241935" cy="241935"/>
            </a:xfrm>
            <a:prstGeom prst="rect">
              <a:avLst/>
            </a:prstGeom>
          </p:spPr>
        </p:pic>
        <p:pic>
          <p:nvPicPr>
            <p:cNvPr id="25" name="Graphic 24" descr="Badge Tick with solid fill">
              <a:extLst>
                <a:ext uri="{FF2B5EF4-FFF2-40B4-BE49-F238E27FC236}">
                  <a16:creationId xmlns:a16="http://schemas.microsoft.com/office/drawing/2014/main" id="{F9E38F05-B98B-4F47-8162-532A2F49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16569" y="3603313"/>
              <a:ext cx="241935" cy="241935"/>
            </a:xfrm>
            <a:prstGeom prst="rect">
              <a:avLst/>
            </a:prstGeom>
          </p:spPr>
        </p:pic>
        <p:pic>
          <p:nvPicPr>
            <p:cNvPr id="26" name="Graphic 25" descr="Badge Tick with solid fill">
              <a:extLst>
                <a:ext uri="{FF2B5EF4-FFF2-40B4-BE49-F238E27FC236}">
                  <a16:creationId xmlns:a16="http://schemas.microsoft.com/office/drawing/2014/main" id="{571BB700-7EBE-4173-9FB0-A755B5020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44000" y="3724280"/>
              <a:ext cx="241935" cy="2419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16046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C01EBB2-68F4-4CF9-96B0-D71335CE64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TIMELINE DỰ Á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11AE865F-7200-4EE9-AC8D-68B270AF1C1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3598942"/>
              </p:ext>
            </p:extLst>
          </p:nvPr>
        </p:nvGraphicFramePr>
        <p:xfrm>
          <a:off x="265747" y="1094224"/>
          <a:ext cx="11660506" cy="4346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82358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B3D0FA-848D-49F1-890F-965F3C01FB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AU" sz="3200" dirty="0">
                <a:latin typeface="Calibri" panose="020F0502020204030204" pitchFamily="34" charset="0"/>
                <a:cs typeface="Calibri" panose="020F0502020204030204" pitchFamily="34" charset="0"/>
              </a:rPr>
              <a:t>CÁC HOẠT ĐỘNG CỦA DỰ ÁN</a:t>
            </a:r>
          </a:p>
        </p:txBody>
      </p:sp>
    </p:spTree>
    <p:extLst>
      <p:ext uri="{BB962C8B-B14F-4D97-AF65-F5344CB8AC3E}">
        <p14:creationId xmlns:p14="http://schemas.microsoft.com/office/powerpoint/2010/main" val="4105685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EBBF578-61FF-4F39-BE8B-76EFD0E927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800" b="1" dirty="0">
                <a:latin typeface="Calibri" panose="020F0502020204030204" pitchFamily="34" charset="0"/>
                <a:cs typeface="Calibri" panose="020F0502020204030204" pitchFamily="34" charset="0"/>
              </a:rPr>
              <a:t>1. PHẦN MỀM TBCOVID</a:t>
            </a:r>
          </a:p>
        </p:txBody>
      </p:sp>
      <p:sp>
        <p:nvSpPr>
          <p:cNvPr id="3" name="Google Shape;1437;p40">
            <a:extLst>
              <a:ext uri="{FF2B5EF4-FFF2-40B4-BE49-F238E27FC236}">
                <a16:creationId xmlns:a16="http://schemas.microsoft.com/office/drawing/2014/main" id="{1DD3B78F-1A4B-43C2-9318-5B041FD35C0A}"/>
              </a:ext>
            </a:extLst>
          </p:cNvPr>
          <p:cNvSpPr txBox="1">
            <a:spLocks/>
          </p:cNvSpPr>
          <p:nvPr/>
        </p:nvSpPr>
        <p:spPr>
          <a:xfrm>
            <a:off x="233708" y="1233528"/>
            <a:ext cx="4201132" cy="86868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ỗ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BYT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o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ệ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àng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ọ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N, ra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ỉ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đị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N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ực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N</a:t>
            </a:r>
          </a:p>
          <a:p>
            <a:pPr marL="596900" indent="-457200" algn="just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endParaRPr lang="en-US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A6C720-E526-4083-A8CD-DDC0245143B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99" y="1998104"/>
            <a:ext cx="3945541" cy="467363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A30F951-2E4E-45C2-8336-EC26375F9D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03470" y="1998104"/>
            <a:ext cx="6665029" cy="2263140"/>
          </a:xfrm>
          <a:prstGeom prst="rect">
            <a:avLst/>
          </a:prstGeom>
        </p:spPr>
      </p:pic>
      <p:sp>
        <p:nvSpPr>
          <p:cNvPr id="10" name="Google Shape;1437;p40">
            <a:extLst>
              <a:ext uri="{FF2B5EF4-FFF2-40B4-BE49-F238E27FC236}">
                <a16:creationId xmlns:a16="http://schemas.microsoft.com/office/drawing/2014/main" id="{C7EDF280-8188-47A2-8F13-ADB8A186699A}"/>
              </a:ext>
            </a:extLst>
          </p:cNvPr>
          <p:cNvSpPr txBox="1">
            <a:spLocks/>
          </p:cNvSpPr>
          <p:nvPr/>
        </p:nvSpPr>
        <p:spPr>
          <a:xfrm>
            <a:off x="4903470" y="1140808"/>
            <a:ext cx="6665029" cy="77202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ệnh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hâ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ả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ý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ậ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uyể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ẫu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39700">
              <a:spcBef>
                <a:spcPts val="600"/>
              </a:spcBef>
              <a:spcAft>
                <a:spcPts val="0"/>
              </a:spcAft>
              <a:buSzPct val="100000"/>
            </a:pP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ả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ả</a:t>
            </a:r>
            <a:endPara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27947D8-49E2-4FA1-8F3E-875D56BBD69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0559" y="4346519"/>
            <a:ext cx="3550159" cy="2377440"/>
          </a:xfrm>
          <a:prstGeom prst="rect">
            <a:avLst/>
          </a:prstGeom>
        </p:spPr>
      </p:pic>
      <p:sp>
        <p:nvSpPr>
          <p:cNvPr id="12" name="Google Shape;1437;p40">
            <a:extLst>
              <a:ext uri="{FF2B5EF4-FFF2-40B4-BE49-F238E27FC236}">
                <a16:creationId xmlns:a16="http://schemas.microsoft.com/office/drawing/2014/main" id="{6CAAB061-04C5-4611-8191-09F4ACFF37ED}"/>
              </a:ext>
            </a:extLst>
          </p:cNvPr>
          <p:cNvSpPr txBox="1">
            <a:spLocks/>
          </p:cNvSpPr>
          <p:nvPr/>
        </p:nvSpPr>
        <p:spPr>
          <a:xfrm>
            <a:off x="5074920" y="4945171"/>
            <a:ext cx="2823210" cy="1147019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200" b="0" kern="1200" spc="100" baseline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1pPr>
            <a:lvl2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5A2259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5A2259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2pPr>
            <a:lvl3pPr marL="274638" indent="-2746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43ABB6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3pPr>
            <a:lvl4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93F47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D3553F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274638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C9EAB"/>
              </a:buClr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8C9EAB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>
              <a:spcBef>
                <a:spcPts val="60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Ø"/>
            </a:pP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ối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áo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ê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ần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ềm</a:t>
            </a:r>
            <a:r>
              <a:rPr lang="en-US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ITIMES</a:t>
            </a:r>
          </a:p>
        </p:txBody>
      </p:sp>
    </p:spTree>
    <p:extLst>
      <p:ext uri="{BB962C8B-B14F-4D97-AF65-F5344CB8AC3E}">
        <p14:creationId xmlns:p14="http://schemas.microsoft.com/office/powerpoint/2010/main" val="286563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MASTERWIZARD_MARGINS" val="0"/>
  <p:tag name="EE4P_STYLE_ID" val="KwuiTUo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20" ma:contentTypeDescription="Create a new document." ma:contentTypeScope="" ma:versionID="4c00ca65e33006485e241d700814ddb8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aa7a9679b48c7eede31e5ae68951acfb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891e9d6-a12c-4c86-87cb-8721f0ea6f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6b0a597-f2ee-4da4-9caf-9ff717947869}" ma:internalName="TaxCatchAll" ma:showField="CatchAllData" ma:web="10c4dcad-8d39-4939-b489-2456ead711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/>
        <AccountId xsi:nil="true"/>
        <AccountType/>
      </UserInfo>
    </SharedWithUsers>
    <lcf76f155ced4ddcb4097134ff3c332f xmlns="5a1bbd72-f46e-43f3-8f72-2623deb0c047">
      <Terms xmlns="http://schemas.microsoft.com/office/infopath/2007/PartnerControls"/>
    </lcf76f155ced4ddcb4097134ff3c332f>
    <TaxCatchAll xmlns="10c4dcad-8d39-4939-b489-2456ead71196" xsi:nil="true"/>
  </documentManagement>
</p:properties>
</file>

<file path=customXml/itemProps1.xml><?xml version="1.0" encoding="utf-8"?>
<ds:datastoreItem xmlns:ds="http://schemas.openxmlformats.org/officeDocument/2006/customXml" ds:itemID="{EFAA74BF-4E94-4EEA-8358-953389CCF6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0B4C42-9701-439F-B928-26E43EB23018}"/>
</file>

<file path=customXml/itemProps3.xml><?xml version="1.0" encoding="utf-8"?>
<ds:datastoreItem xmlns:ds="http://schemas.openxmlformats.org/officeDocument/2006/customXml" ds:itemID="{FFF185EE-9726-4FAC-8A8C-F4FF7EEB7FA7}">
  <ds:schemaRefs>
    <ds:schemaRef ds:uri="http://purl.org/dc/terms/"/>
    <ds:schemaRef ds:uri="http://schemas.microsoft.com/office/2006/documentManagement/types"/>
    <ds:schemaRef ds:uri="10c4dcad-8d39-4939-b489-2456ead71196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5a1bbd72-f46e-43f3-8f72-2623deb0c04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8753</TotalTime>
  <Words>2089</Words>
  <Application>Microsoft Office PowerPoint</Application>
  <PresentationFormat>Widescreen</PresentationFormat>
  <Paragraphs>248</Paragraphs>
  <Slides>2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Arial</vt:lpstr>
      <vt:lpstr>Arial (Body)</vt:lpstr>
      <vt:lpstr>Calibri</vt:lpstr>
      <vt:lpstr>Franklin Gothic Book</vt:lpstr>
      <vt:lpstr>Franklin Gothic Medium</vt:lpstr>
      <vt:lpstr>Segoe UI</vt:lpstr>
      <vt:lpstr>Times New Roman</vt:lpstr>
      <vt:lpstr>Trebuchet MS</vt:lpstr>
      <vt:lpstr>Wingdings</vt:lpstr>
      <vt:lpstr>*FIND template*</vt:lpstr>
      <vt:lpstr>think-cell Slide</vt:lpstr>
      <vt:lpstr>BÁO CÁO DỰ ÁN  sàng lọc bỆnh lao, COVID 19 &amp; MỘT SỐ BỆNH NHIỄM TRÙNG ĐƯỜNG HÔ HẤP  PHỔ BIẾN TẠI TUYẾN YTCS Ở VIỆT NAM</vt:lpstr>
      <vt:lpstr>PowerPoint Presentation</vt:lpstr>
      <vt:lpstr>PowerPoint Presentation</vt:lpstr>
      <vt:lpstr>BỐI CẢNH XÂY DỰNG DỰ Á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Genpac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iwari, Pradeep</dc:creator>
  <cp:keywords/>
  <dc:description/>
  <cp:lastModifiedBy>Ly Na Hoang</cp:lastModifiedBy>
  <cp:revision>288</cp:revision>
  <cp:lastPrinted>2023-08-02T11:35:53Z</cp:lastPrinted>
  <dcterms:created xsi:type="dcterms:W3CDTF">2020-02-13T09:04:23Z</dcterms:created>
  <dcterms:modified xsi:type="dcterms:W3CDTF">2023-08-02T16:04:18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</Properties>
</file>